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4233" r:id="rId4"/>
  </p:sldMasterIdLst>
  <p:notesMasterIdLst>
    <p:notesMasterId r:id="rId26"/>
  </p:notesMasterIdLst>
  <p:handoutMasterIdLst>
    <p:handoutMasterId r:id="rId27"/>
  </p:handoutMasterIdLst>
  <p:sldIdLst>
    <p:sldId id="2147472857" r:id="rId5"/>
    <p:sldId id="260" r:id="rId6"/>
    <p:sldId id="261" r:id="rId7"/>
    <p:sldId id="2147472862" r:id="rId8"/>
    <p:sldId id="2147473716" r:id="rId9"/>
    <p:sldId id="2147473720" r:id="rId10"/>
    <p:sldId id="2147473677" r:id="rId11"/>
    <p:sldId id="2147473683" r:id="rId12"/>
    <p:sldId id="2147473713" r:id="rId13"/>
    <p:sldId id="2147473717" r:id="rId14"/>
    <p:sldId id="2147473711" r:id="rId15"/>
    <p:sldId id="2147473715" r:id="rId16"/>
    <p:sldId id="272" r:id="rId17"/>
    <p:sldId id="2147473701" r:id="rId18"/>
    <p:sldId id="2147473719" r:id="rId19"/>
    <p:sldId id="2147473718" r:id="rId20"/>
    <p:sldId id="256" r:id="rId21"/>
    <p:sldId id="2147472859" r:id="rId22"/>
    <p:sldId id="436" r:id="rId23"/>
    <p:sldId id="2147472861" r:id="rId24"/>
    <p:sldId id="2147472855" r:id="rId25"/>
  </p:sldIdLst>
  <p:sldSz cx="12192000" cy="6858000"/>
  <p:notesSz cx="7023100" cy="93091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 frameSlides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2F2F2"/>
    <a:srgbClr val="F4F4F4"/>
    <a:srgbClr val="DA291C"/>
    <a:srgbClr val="959CA0"/>
    <a:srgbClr val="FE8A12"/>
    <a:srgbClr val="F4C65A"/>
    <a:srgbClr val="FFE2C4"/>
    <a:srgbClr val="FEC488"/>
    <a:srgbClr val="7FD1EF"/>
    <a:srgbClr val="A1D79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0B822698-612D-A837-8710-71D123F942EA}" v="14" dt="2025-08-05T19:40:40.587"/>
    <p1510:client id="{C87121E8-70D3-4CA6-96D3-664E645BFD55}" v="1" dt="2025-08-06T12:11:56.481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slideViewPr>
    <p:cSldViewPr snapToGrid="0">
      <p:cViewPr>
        <p:scale>
          <a:sx n="1" d="2"/>
          <a:sy n="1" d="2"/>
        </p:scale>
        <p:origin x="0" y="0"/>
      </p:cViewPr>
      <p:guideLst>
        <p:guide orient="horz" pos="2160"/>
        <p:guide pos="3840"/>
      </p:guideLst>
    </p:cSldViewPr>
  </p:slide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notesMaster" Target="notesMasters/notesMaster1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microsoft.com/office/2015/10/relationships/revisionInfo" Target="revisionInfo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microsoft.com/office/2016/11/relationships/changesInfo" Target="changesInfos/changesInfo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presProps" Target="presProp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handoutMaster" Target="handoutMasters/handoutMaster1.xml"/><Relationship Id="rId30" Type="http://schemas.openxmlformats.org/officeDocument/2006/relationships/theme" Target="theme/theme1.xml"/><Relationship Id="rId8" Type="http://schemas.openxmlformats.org/officeDocument/2006/relationships/slide" Target="slides/slide4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Eichert, Edie" userId="206a561a-9854-43b8-b946-c4bcac77f713" providerId="ADAL" clId="{DCAFE2B4-663A-4886-8543-5726562D58AD}"/>
    <pc:docChg chg="addSld delSld modSld">
      <pc:chgData name="Eichert, Edie" userId="206a561a-9854-43b8-b946-c4bcac77f713" providerId="ADAL" clId="{DCAFE2B4-663A-4886-8543-5726562D58AD}" dt="2025-08-04T18:37:02.584" v="5"/>
      <pc:docMkLst>
        <pc:docMk/>
      </pc:docMkLst>
      <pc:sldChg chg="modSp">
        <pc:chgData name="Eichert, Edie" userId="206a561a-9854-43b8-b946-c4bcac77f713" providerId="ADAL" clId="{DCAFE2B4-663A-4886-8543-5726562D58AD}" dt="2025-08-04T18:36:52.872" v="4"/>
        <pc:sldMkLst>
          <pc:docMk/>
          <pc:sldMk cId="2136439337" sldId="256"/>
        </pc:sldMkLst>
        <pc:spChg chg="mod">
          <ac:chgData name="Eichert, Edie" userId="206a561a-9854-43b8-b946-c4bcac77f713" providerId="ADAL" clId="{DCAFE2B4-663A-4886-8543-5726562D58AD}" dt="2025-08-04T18:36:52.872" v="4"/>
          <ac:spMkLst>
            <pc:docMk/>
            <pc:sldMk cId="2136439337" sldId="256"/>
            <ac:spMk id="2" creationId="{7F6C5644-711A-25EC-9948-82810157AC73}"/>
          </ac:spMkLst>
        </pc:spChg>
      </pc:sldChg>
      <pc:sldChg chg="modSp">
        <pc:chgData name="Eichert, Edie" userId="206a561a-9854-43b8-b946-c4bcac77f713" providerId="ADAL" clId="{DCAFE2B4-663A-4886-8543-5726562D58AD}" dt="2025-08-04T18:36:32.386" v="2"/>
        <pc:sldMkLst>
          <pc:docMk/>
          <pc:sldMk cId="2313352098" sldId="260"/>
        </pc:sldMkLst>
        <pc:spChg chg="mod">
          <ac:chgData name="Eichert, Edie" userId="206a561a-9854-43b8-b946-c4bcac77f713" providerId="ADAL" clId="{DCAFE2B4-663A-4886-8543-5726562D58AD}" dt="2025-08-04T18:36:32.386" v="2"/>
          <ac:spMkLst>
            <pc:docMk/>
            <pc:sldMk cId="2313352098" sldId="260"/>
            <ac:spMk id="8" creationId="{E18C02D5-B939-BFF8-7657-D0B3D73FC719}"/>
          </ac:spMkLst>
        </pc:spChg>
      </pc:sldChg>
      <pc:sldChg chg="add modTransition">
        <pc:chgData name="Eichert, Edie" userId="206a561a-9854-43b8-b946-c4bcac77f713" providerId="ADAL" clId="{DCAFE2B4-663A-4886-8543-5726562D58AD}" dt="2025-08-04T18:37:02.584" v="5"/>
        <pc:sldMkLst>
          <pc:docMk/>
          <pc:sldMk cId="1850747888" sldId="436"/>
        </pc:sldMkLst>
      </pc:sldChg>
      <pc:sldChg chg="add">
        <pc:chgData name="Eichert, Edie" userId="206a561a-9854-43b8-b946-c4bcac77f713" providerId="ADAL" clId="{DCAFE2B4-663A-4886-8543-5726562D58AD}" dt="2025-08-04T18:36:40.844" v="3"/>
        <pc:sldMkLst>
          <pc:docMk/>
          <pc:sldMk cId="355027770" sldId="2147472858"/>
        </pc:sldMkLst>
      </pc:sldChg>
      <pc:sldChg chg="add del">
        <pc:chgData name="Eichert, Edie" userId="206a561a-9854-43b8-b946-c4bcac77f713" providerId="ADAL" clId="{DCAFE2B4-663A-4886-8543-5726562D58AD}" dt="2025-08-04T18:37:02.584" v="5"/>
        <pc:sldMkLst>
          <pc:docMk/>
          <pc:sldMk cId="1855187087" sldId="2147472859"/>
        </pc:sldMkLst>
      </pc:sldChg>
      <pc:sldChg chg="add modTransition">
        <pc:chgData name="Eichert, Edie" userId="206a561a-9854-43b8-b946-c4bcac77f713" providerId="ADAL" clId="{DCAFE2B4-663A-4886-8543-5726562D58AD}" dt="2025-08-04T18:37:02.584" v="5"/>
        <pc:sldMkLst>
          <pc:docMk/>
          <pc:sldMk cId="4222627702" sldId="2147472861"/>
        </pc:sldMkLst>
      </pc:sldChg>
    </pc:docChg>
  </pc:docChgLst>
  <pc:docChgLst>
    <pc:chgData name="Kamboj, Sandeep" userId="b1434cc5-997d-4115-b984-843629191137" providerId="ADAL" clId="{558E09BE-4885-4CC6-A784-E0348FF33532}"/>
    <pc:docChg chg="delSld modSld">
      <pc:chgData name="Kamboj, Sandeep" userId="b1434cc5-997d-4115-b984-843629191137" providerId="ADAL" clId="{558E09BE-4885-4CC6-A784-E0348FF33532}" dt="2025-08-04T13:34:07.539" v="26" actId="20577"/>
      <pc:docMkLst>
        <pc:docMk/>
      </pc:docMkLst>
      <pc:sldChg chg="modSp mod">
        <pc:chgData name="Kamboj, Sandeep" userId="b1434cc5-997d-4115-b984-843629191137" providerId="ADAL" clId="{558E09BE-4885-4CC6-A784-E0348FF33532}" dt="2025-08-04T13:33:54.199" v="9" actId="6549"/>
        <pc:sldMkLst>
          <pc:docMk/>
          <pc:sldMk cId="2136439337" sldId="256"/>
        </pc:sldMkLst>
        <pc:spChg chg="mod">
          <ac:chgData name="Kamboj, Sandeep" userId="b1434cc5-997d-4115-b984-843629191137" providerId="ADAL" clId="{558E09BE-4885-4CC6-A784-E0348FF33532}" dt="2025-08-04T13:33:54.199" v="9" actId="6549"/>
          <ac:spMkLst>
            <pc:docMk/>
            <pc:sldMk cId="2136439337" sldId="256"/>
            <ac:spMk id="2" creationId="{7F6C5644-711A-25EC-9948-82810157AC73}"/>
          </ac:spMkLst>
        </pc:spChg>
      </pc:sldChg>
      <pc:sldChg chg="modSp mod">
        <pc:chgData name="Kamboj, Sandeep" userId="b1434cc5-997d-4115-b984-843629191137" providerId="ADAL" clId="{558E09BE-4885-4CC6-A784-E0348FF33532}" dt="2025-08-04T13:34:03.008" v="16" actId="20577"/>
        <pc:sldMkLst>
          <pc:docMk/>
          <pc:sldMk cId="2313352098" sldId="260"/>
        </pc:sldMkLst>
        <pc:spChg chg="mod">
          <ac:chgData name="Kamboj, Sandeep" userId="b1434cc5-997d-4115-b984-843629191137" providerId="ADAL" clId="{558E09BE-4885-4CC6-A784-E0348FF33532}" dt="2025-08-04T13:34:03.008" v="16" actId="20577"/>
          <ac:spMkLst>
            <pc:docMk/>
            <pc:sldMk cId="2313352098" sldId="260"/>
            <ac:spMk id="8" creationId="{E18C02D5-B939-BFF8-7657-D0B3D73FC719}"/>
          </ac:spMkLst>
        </pc:spChg>
      </pc:sldChg>
      <pc:sldChg chg="del">
        <pc:chgData name="Kamboj, Sandeep" userId="b1434cc5-997d-4115-b984-843629191137" providerId="ADAL" clId="{558E09BE-4885-4CC6-A784-E0348FF33532}" dt="2025-08-04T13:33:57.164" v="13" actId="47"/>
        <pc:sldMkLst>
          <pc:docMk/>
          <pc:sldMk cId="1749209584" sldId="269"/>
        </pc:sldMkLst>
      </pc:sldChg>
      <pc:sldChg chg="del">
        <pc:chgData name="Kamboj, Sandeep" userId="b1434cc5-997d-4115-b984-843629191137" providerId="ADAL" clId="{558E09BE-4885-4CC6-A784-E0348FF33532}" dt="2025-08-04T13:33:57.431" v="14" actId="47"/>
        <pc:sldMkLst>
          <pc:docMk/>
          <pc:sldMk cId="2851825746" sldId="278"/>
        </pc:sldMkLst>
      </pc:sldChg>
      <pc:sldChg chg="del">
        <pc:chgData name="Kamboj, Sandeep" userId="b1434cc5-997d-4115-b984-843629191137" providerId="ADAL" clId="{558E09BE-4885-4CC6-A784-E0348FF33532}" dt="2025-08-04T13:33:55.703" v="10" actId="47"/>
        <pc:sldMkLst>
          <pc:docMk/>
          <pc:sldMk cId="1263283585" sldId="5530"/>
        </pc:sldMkLst>
      </pc:sldChg>
      <pc:sldChg chg="del">
        <pc:chgData name="Kamboj, Sandeep" userId="b1434cc5-997d-4115-b984-843629191137" providerId="ADAL" clId="{558E09BE-4885-4CC6-A784-E0348FF33532}" dt="2025-08-04T13:33:56.339" v="11" actId="47"/>
        <pc:sldMkLst>
          <pc:docMk/>
          <pc:sldMk cId="607230125" sldId="5532"/>
        </pc:sldMkLst>
      </pc:sldChg>
      <pc:sldChg chg="modSp mod">
        <pc:chgData name="Kamboj, Sandeep" userId="b1434cc5-997d-4115-b984-843629191137" providerId="ADAL" clId="{558E09BE-4885-4CC6-A784-E0348FF33532}" dt="2025-08-04T13:34:07.539" v="26" actId="20577"/>
        <pc:sldMkLst>
          <pc:docMk/>
          <pc:sldMk cId="1126076712" sldId="2147472857"/>
        </pc:sldMkLst>
        <pc:spChg chg="mod">
          <ac:chgData name="Kamboj, Sandeep" userId="b1434cc5-997d-4115-b984-843629191137" providerId="ADAL" clId="{558E09BE-4885-4CC6-A784-E0348FF33532}" dt="2025-08-04T13:34:07.539" v="26" actId="20577"/>
          <ac:spMkLst>
            <pc:docMk/>
            <pc:sldMk cId="1126076712" sldId="2147472857"/>
            <ac:spMk id="5" creationId="{9014ADC4-BD15-2F2B-741A-EDFCCB5EC00A}"/>
          </ac:spMkLst>
        </pc:spChg>
      </pc:sldChg>
      <pc:sldChg chg="del">
        <pc:chgData name="Kamboj, Sandeep" userId="b1434cc5-997d-4115-b984-843629191137" providerId="ADAL" clId="{558E09BE-4885-4CC6-A784-E0348FF33532}" dt="2025-08-04T13:33:56.832" v="12" actId="47"/>
        <pc:sldMkLst>
          <pc:docMk/>
          <pc:sldMk cId="54830274" sldId="2147472859"/>
        </pc:sldMkLst>
      </pc:sldChg>
      <pc:sldChg chg="del">
        <pc:chgData name="Kamboj, Sandeep" userId="b1434cc5-997d-4115-b984-843629191137" providerId="ADAL" clId="{558E09BE-4885-4CC6-A784-E0348FF33532}" dt="2025-08-04T13:33:57.628" v="15" actId="47"/>
        <pc:sldMkLst>
          <pc:docMk/>
          <pc:sldMk cId="1200074199" sldId="2147472860"/>
        </pc:sldMkLst>
      </pc:sldChg>
    </pc:docChg>
  </pc:docChgLst>
  <pc:docChgLst>
    <pc:chgData name="Deshpande, Ketan" userId="S::ketan.deshpande@iqvia.com::01bc5849-6eb1-4777-8e98-44c13ea53d49" providerId="AD" clId="Web-{0B822698-612D-A837-8710-71D123F942EA}"/>
    <pc:docChg chg="addSld delSld">
      <pc:chgData name="Deshpande, Ketan" userId="S::ketan.deshpande@iqvia.com::01bc5849-6eb1-4777-8e98-44c13ea53d49" providerId="AD" clId="Web-{0B822698-612D-A837-8710-71D123F942EA}" dt="2025-08-05T19:40:40.587" v="13"/>
      <pc:docMkLst>
        <pc:docMk/>
      </pc:docMkLst>
      <pc:sldChg chg="add">
        <pc:chgData name="Deshpande, Ketan" userId="S::ketan.deshpande@iqvia.com::01bc5849-6eb1-4777-8e98-44c13ea53d49" providerId="AD" clId="Web-{0B822698-612D-A837-8710-71D123F942EA}" dt="2025-08-05T19:40:32.836" v="9"/>
        <pc:sldMkLst>
          <pc:docMk/>
          <pc:sldMk cId="1834046036" sldId="272"/>
        </pc:sldMkLst>
      </pc:sldChg>
      <pc:sldChg chg="del">
        <pc:chgData name="Deshpande, Ketan" userId="S::ketan.deshpande@iqvia.com::01bc5849-6eb1-4777-8e98-44c13ea53d49" providerId="AD" clId="Web-{0B822698-612D-A837-8710-71D123F942EA}" dt="2025-08-05T19:40:40.587" v="13"/>
        <pc:sldMkLst>
          <pc:docMk/>
          <pc:sldMk cId="355027770" sldId="2147472858"/>
        </pc:sldMkLst>
      </pc:sldChg>
      <pc:sldChg chg="add">
        <pc:chgData name="Deshpande, Ketan" userId="S::ketan.deshpande@iqvia.com::01bc5849-6eb1-4777-8e98-44c13ea53d49" providerId="AD" clId="Web-{0B822698-612D-A837-8710-71D123F942EA}" dt="2025-08-05T19:40:31.571" v="0"/>
        <pc:sldMkLst>
          <pc:docMk/>
          <pc:sldMk cId="3907401283" sldId="2147472862"/>
        </pc:sldMkLst>
      </pc:sldChg>
      <pc:sldChg chg="add">
        <pc:chgData name="Deshpande, Ketan" userId="S::ketan.deshpande@iqvia.com::01bc5849-6eb1-4777-8e98-44c13ea53d49" providerId="AD" clId="Web-{0B822698-612D-A837-8710-71D123F942EA}" dt="2025-08-05T19:40:31.774" v="3"/>
        <pc:sldMkLst>
          <pc:docMk/>
          <pc:sldMk cId="2748614519" sldId="2147473677"/>
        </pc:sldMkLst>
      </pc:sldChg>
      <pc:sldChg chg="add">
        <pc:chgData name="Deshpande, Ketan" userId="S::ketan.deshpande@iqvia.com::01bc5849-6eb1-4777-8e98-44c13ea53d49" providerId="AD" clId="Web-{0B822698-612D-A837-8710-71D123F942EA}" dt="2025-08-05T19:40:32.071" v="4"/>
        <pc:sldMkLst>
          <pc:docMk/>
          <pc:sldMk cId="906916761" sldId="2147473683"/>
        </pc:sldMkLst>
      </pc:sldChg>
      <pc:sldChg chg="add">
        <pc:chgData name="Deshpande, Ketan" userId="S::ketan.deshpande@iqvia.com::01bc5849-6eb1-4777-8e98-44c13ea53d49" providerId="AD" clId="Web-{0B822698-612D-A837-8710-71D123F942EA}" dt="2025-08-05T19:40:32.899" v="10"/>
        <pc:sldMkLst>
          <pc:docMk/>
          <pc:sldMk cId="219640411" sldId="2147473701"/>
        </pc:sldMkLst>
      </pc:sldChg>
      <pc:sldChg chg="add">
        <pc:chgData name="Deshpande, Ketan" userId="S::ketan.deshpande@iqvia.com::01bc5849-6eb1-4777-8e98-44c13ea53d49" providerId="AD" clId="Web-{0B822698-612D-A837-8710-71D123F942EA}" dt="2025-08-05T19:40:32.461" v="7"/>
        <pc:sldMkLst>
          <pc:docMk/>
          <pc:sldMk cId="3813626053" sldId="2147473711"/>
        </pc:sldMkLst>
      </pc:sldChg>
      <pc:sldChg chg="add">
        <pc:chgData name="Deshpande, Ketan" userId="S::ketan.deshpande@iqvia.com::01bc5849-6eb1-4777-8e98-44c13ea53d49" providerId="AD" clId="Web-{0B822698-612D-A837-8710-71D123F942EA}" dt="2025-08-05T19:40:32.258" v="5"/>
        <pc:sldMkLst>
          <pc:docMk/>
          <pc:sldMk cId="1760498756" sldId="2147473713"/>
        </pc:sldMkLst>
      </pc:sldChg>
      <pc:sldChg chg="add">
        <pc:chgData name="Deshpande, Ketan" userId="S::ketan.deshpande@iqvia.com::01bc5849-6eb1-4777-8e98-44c13ea53d49" providerId="AD" clId="Web-{0B822698-612D-A837-8710-71D123F942EA}" dt="2025-08-05T19:40:32.664" v="8"/>
        <pc:sldMkLst>
          <pc:docMk/>
          <pc:sldMk cId="1768161880" sldId="2147473715"/>
        </pc:sldMkLst>
      </pc:sldChg>
      <pc:sldChg chg="add">
        <pc:chgData name="Deshpande, Ketan" userId="S::ketan.deshpande@iqvia.com::01bc5849-6eb1-4777-8e98-44c13ea53d49" providerId="AD" clId="Web-{0B822698-612D-A837-8710-71D123F942EA}" dt="2025-08-05T19:40:31.633" v="1"/>
        <pc:sldMkLst>
          <pc:docMk/>
          <pc:sldMk cId="3084298113" sldId="2147473716"/>
        </pc:sldMkLst>
      </pc:sldChg>
      <pc:sldChg chg="add">
        <pc:chgData name="Deshpande, Ketan" userId="S::ketan.deshpande@iqvia.com::01bc5849-6eb1-4777-8e98-44c13ea53d49" providerId="AD" clId="Web-{0B822698-612D-A837-8710-71D123F942EA}" dt="2025-08-05T19:40:32.383" v="6"/>
        <pc:sldMkLst>
          <pc:docMk/>
          <pc:sldMk cId="4087855182" sldId="2147473717"/>
        </pc:sldMkLst>
      </pc:sldChg>
      <pc:sldChg chg="add">
        <pc:chgData name="Deshpande, Ketan" userId="S::ketan.deshpande@iqvia.com::01bc5849-6eb1-4777-8e98-44c13ea53d49" providerId="AD" clId="Web-{0B822698-612D-A837-8710-71D123F942EA}" dt="2025-08-05T19:40:33.008" v="12"/>
        <pc:sldMkLst>
          <pc:docMk/>
          <pc:sldMk cId="3961260011" sldId="2147473718"/>
        </pc:sldMkLst>
      </pc:sldChg>
      <pc:sldChg chg="add">
        <pc:chgData name="Deshpande, Ketan" userId="S::ketan.deshpande@iqvia.com::01bc5849-6eb1-4777-8e98-44c13ea53d49" providerId="AD" clId="Web-{0B822698-612D-A837-8710-71D123F942EA}" dt="2025-08-05T19:40:32.946" v="11"/>
        <pc:sldMkLst>
          <pc:docMk/>
          <pc:sldMk cId="1011616956" sldId="2147473719"/>
        </pc:sldMkLst>
      </pc:sldChg>
      <pc:sldChg chg="add">
        <pc:chgData name="Deshpande, Ketan" userId="S::ketan.deshpande@iqvia.com::01bc5849-6eb1-4777-8e98-44c13ea53d49" providerId="AD" clId="Web-{0B822698-612D-A837-8710-71D123F942EA}" dt="2025-08-05T19:40:31.696" v="2"/>
        <pc:sldMkLst>
          <pc:docMk/>
          <pc:sldMk cId="454637096" sldId="2147473720"/>
        </pc:sldMkLst>
      </pc:sldChg>
      <pc:sldMasterChg chg="addSldLayout">
        <pc:chgData name="Deshpande, Ketan" userId="S::ketan.deshpande@iqvia.com::01bc5849-6eb1-4777-8e98-44c13ea53d49" providerId="AD" clId="Web-{0B822698-612D-A837-8710-71D123F942EA}" dt="2025-08-05T19:40:32.461" v="7"/>
        <pc:sldMasterMkLst>
          <pc:docMk/>
          <pc:sldMasterMk cId="1987436075" sldId="2147484233"/>
        </pc:sldMasterMkLst>
        <pc:sldLayoutChg chg="add">
          <pc:chgData name="Deshpande, Ketan" userId="S::ketan.deshpande@iqvia.com::01bc5849-6eb1-4777-8e98-44c13ea53d49" providerId="AD" clId="Web-{0B822698-612D-A837-8710-71D123F942EA}" dt="2025-08-05T19:40:32.461" v="7"/>
          <pc:sldLayoutMkLst>
            <pc:docMk/>
            <pc:sldMasterMk cId="1987436075" sldId="2147484233"/>
            <pc:sldLayoutMk cId="3527493450" sldId="2147484292"/>
          </pc:sldLayoutMkLst>
        </pc:sldLayoutChg>
      </pc:sldMasterChg>
    </pc:docChg>
  </pc:docChgLst>
  <pc:docChgLst>
    <pc:chgData name="Deshpande, Ketan" userId="01bc5849-6eb1-4777-8e98-44c13ea53d49" providerId="ADAL" clId="{C87121E8-70D3-4CA6-96D3-664E645BFD55}"/>
    <pc:docChg chg="modSld">
      <pc:chgData name="Deshpande, Ketan" userId="01bc5849-6eb1-4777-8e98-44c13ea53d49" providerId="ADAL" clId="{C87121E8-70D3-4CA6-96D3-664E645BFD55}" dt="2025-08-06T12:11:56.481" v="0" actId="6549"/>
      <pc:docMkLst>
        <pc:docMk/>
      </pc:docMkLst>
      <pc:sldChg chg="modSp mod">
        <pc:chgData name="Deshpande, Ketan" userId="01bc5849-6eb1-4777-8e98-44c13ea53d49" providerId="ADAL" clId="{C87121E8-70D3-4CA6-96D3-664E645BFD55}" dt="2025-08-06T12:11:56.481" v="0" actId="6549"/>
        <pc:sldMkLst>
          <pc:docMk/>
          <pc:sldMk cId="492020610" sldId="261"/>
        </pc:sldMkLst>
        <pc:spChg chg="mod">
          <ac:chgData name="Deshpande, Ketan" userId="01bc5849-6eb1-4777-8e98-44c13ea53d49" providerId="ADAL" clId="{C87121E8-70D3-4CA6-96D3-664E645BFD55}" dt="2025-08-06T12:11:56.481" v="0" actId="6549"/>
          <ac:spMkLst>
            <pc:docMk/>
            <pc:sldMk cId="492020610" sldId="261"/>
            <ac:spMk id="5" creationId="{AD8C524C-9A53-4D86-B780-099467E78525}"/>
          </ac:spMkLst>
        </pc:sp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494675" y="279823"/>
            <a:ext cx="4393055" cy="367959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l">
              <a:defRPr sz="1200"/>
            </a:lvl1pPr>
          </a:lstStyle>
          <a:p>
            <a:endParaRPr lang="en-US" b="1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494675" y="669161"/>
            <a:ext cx="4393055" cy="153245"/>
          </a:xfrm>
          <a:prstGeom prst="rect">
            <a:avLst/>
          </a:prstGeom>
        </p:spPr>
        <p:txBody>
          <a:bodyPr vert="horz" lIns="93324" tIns="0" rIns="93324" bIns="0" rtlCol="0">
            <a:noAutofit/>
          </a:bodyPr>
          <a:lstStyle>
            <a:lvl1pPr algn="r">
              <a:defRPr sz="1200"/>
            </a:lvl1pPr>
          </a:lstStyle>
          <a:p>
            <a:pPr algn="l"/>
            <a:fld id="{E7A8D578-5E90-413C-9512-130603CF2639}" type="datetimeFigureOut">
              <a:rPr lang="en-US" sz="1000" i="1"/>
              <a:pPr algn="l"/>
              <a:t>8/6/2025</a:t>
            </a:fld>
            <a:endParaRPr lang="en-US" sz="1000" i="1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494691" y="8780243"/>
            <a:ext cx="2893517" cy="251346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l">
              <a:defRPr sz="1200"/>
            </a:lvl1pPr>
          </a:lstStyle>
          <a:p>
            <a:endParaRPr lang="en-US" sz="100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5306470" y="8780243"/>
            <a:ext cx="1221955" cy="251346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r">
              <a:defRPr sz="1200"/>
            </a:lvl1pPr>
          </a:lstStyle>
          <a:p>
            <a:fld id="{6D32B792-199B-4EBF-B605-6F6C876EB442}" type="slidenum">
              <a:rPr lang="en-US" sz="1000"/>
              <a:t>‹#›</a:t>
            </a:fld>
            <a:endParaRPr lang="en-US" sz="1000"/>
          </a:p>
        </p:txBody>
      </p:sp>
    </p:spTree>
    <p:extLst>
      <p:ext uri="{BB962C8B-B14F-4D97-AF65-F5344CB8AC3E}">
        <p14:creationId xmlns:p14="http://schemas.microsoft.com/office/powerpoint/2010/main" val="91150287"/>
      </p:ext>
    </p:extLst>
  </p:cSld>
  <p:clrMap bg1="lt1" tx1="dk1" bg2="lt2" tx2="dk2" accent1="accent1" accent2="accent2" accent3="accent3" accent4="accent4" accent5="accent5" accent6="accent6" hlink="hlink" folHlink="folHlink"/>
  <p:hf dt="0"/>
</p:handoutMaster>
</file>

<file path=ppt/notesMasters/_rels/notesMaster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Graphic 18">
            <a:extLst>
              <a:ext uri="{FF2B5EF4-FFF2-40B4-BE49-F238E27FC236}">
                <a16:creationId xmlns:a16="http://schemas.microsoft.com/office/drawing/2014/main" id="{04FCD28D-5205-B14D-9338-E5F52C4B3AFB}"/>
              </a:ext>
            </a:extLst>
          </p:cNvPr>
          <p:cNvPicPr preferRelativeResize="0"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713460" y="671457"/>
            <a:ext cx="1555593" cy="281237"/>
          </a:xfrm>
          <a:prstGeom prst="rect">
            <a:avLst/>
          </a:prstGeom>
        </p:spPr>
      </p:pic>
      <p:sp>
        <p:nvSpPr>
          <p:cNvPr id="20" name="Header Placeholder 19">
            <a:extLst>
              <a:ext uri="{FF2B5EF4-FFF2-40B4-BE49-F238E27FC236}">
                <a16:creationId xmlns:a16="http://schemas.microsoft.com/office/drawing/2014/main" id="{44B54E68-49B3-EB4F-9F06-63EBE21271F2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1"/>
            <a:ext cx="3043238" cy="4667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21" name="Slide Image Placeholder 20">
            <a:extLst>
              <a:ext uri="{FF2B5EF4-FFF2-40B4-BE49-F238E27FC236}">
                <a16:creationId xmlns:a16="http://schemas.microsoft.com/office/drawing/2014/main" id="{9F80914E-3226-3544-8067-D77A7810E7E0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719138" y="1163638"/>
            <a:ext cx="5584825" cy="314166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22" name="Footer Placeholder 21">
            <a:extLst>
              <a:ext uri="{FF2B5EF4-FFF2-40B4-BE49-F238E27FC236}">
                <a16:creationId xmlns:a16="http://schemas.microsoft.com/office/drawing/2014/main" id="{73A95A9D-2083-FD47-8FCC-26405789E46C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8842376"/>
            <a:ext cx="3043238" cy="4667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23" name="Slide Number Placeholder 22">
            <a:extLst>
              <a:ext uri="{FF2B5EF4-FFF2-40B4-BE49-F238E27FC236}">
                <a16:creationId xmlns:a16="http://schemas.microsoft.com/office/drawing/2014/main" id="{C3E99797-5A44-E441-B5A2-75267FF5AEB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3978275" y="8842376"/>
            <a:ext cx="3043238" cy="4667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757C527-D302-0D4C-8820-8247C93BFD8D}" type="slidenum">
              <a:rPr lang="en-US" smtClean="0"/>
              <a:t>‹#›</a:t>
            </a:fld>
            <a:endParaRPr lang="en-US"/>
          </a:p>
        </p:txBody>
      </p:sp>
      <p:sp>
        <p:nvSpPr>
          <p:cNvPr id="24" name="Notes Placeholder 23">
            <a:extLst>
              <a:ext uri="{FF2B5EF4-FFF2-40B4-BE49-F238E27FC236}">
                <a16:creationId xmlns:a16="http://schemas.microsoft.com/office/drawing/2014/main" id="{0824245F-47FC-6845-9612-BB5942EF998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701676" y="4479925"/>
            <a:ext cx="5619750" cy="3665538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5" name="Date Placeholder 24">
            <a:extLst>
              <a:ext uri="{FF2B5EF4-FFF2-40B4-BE49-F238E27FC236}">
                <a16:creationId xmlns:a16="http://schemas.microsoft.com/office/drawing/2014/main" id="{089E4AFB-44C9-3941-9EFD-0F8219FA48F5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3978275" y="1"/>
            <a:ext cx="3043238" cy="4667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6052FF9-2A45-F143-A9E3-2C98D6266DD3}" type="datetimeFigureOut">
              <a:rPr lang="en-US" smtClean="0"/>
              <a:t>8/6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82299678"/>
      </p:ext>
    </p:extLst>
  </p:cSld>
  <p:clrMap bg1="lt1" tx1="dk1" bg2="lt2" tx2="dk2" accent1="accent1" accent2="accent2" accent3="accent3" accent4="accent4" accent5="accent5" accent6="accent6" hlink="hlink" folHlink="folHlink"/>
  <p:hf dt="0"/>
  <p:notesStyle>
    <a:lvl1pPr marL="117475" indent="-117475" algn="l" defTabSz="914400" rtl="0" eaLnBrk="1" latinLnBrk="0" hangingPunct="1">
      <a:spcBef>
        <a:spcPts val="400"/>
      </a:spcBef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228600" indent="-111125" algn="l" defTabSz="914400" rtl="0" eaLnBrk="1" latinLnBrk="0" hangingPunct="1">
      <a:spcBef>
        <a:spcPts val="400"/>
      </a:spcBef>
      <a:buFont typeface="Arial" panose="020B0604020202020204" pitchFamily="34" charset="0"/>
      <a:buChar char="-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346075" indent="-117475" algn="l" defTabSz="914400" rtl="0" eaLnBrk="1" latinLnBrk="0" hangingPunct="1">
      <a:spcBef>
        <a:spcPts val="400"/>
      </a:spcBef>
      <a:buFont typeface="Arial" panose="020B0604020202020204" pitchFamily="34" charset="0"/>
      <a:buChar char="›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512763" indent="-166688" algn="l" defTabSz="914400" rtl="0" eaLnBrk="1" latinLnBrk="0" hangingPunct="1">
      <a:spcBef>
        <a:spcPts val="400"/>
      </a:spcBef>
      <a:buFont typeface="Arial" panose="020B0604020202020204" pitchFamily="34" charset="0"/>
      <a:buChar char="»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630238" indent="-117475" algn="l" defTabSz="914400" rtl="0" eaLnBrk="1" latinLnBrk="0" hangingPunct="1">
      <a:spcBef>
        <a:spcPts val="400"/>
      </a:spcBef>
      <a:buSzPct val="75000"/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16438" y="6921500"/>
            <a:ext cx="2687637" cy="1512888"/>
          </a:xfrm>
          <a:prstGeom prst="rect">
            <a:avLst/>
          </a:prstGeo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396415" y="1314911"/>
            <a:ext cx="6230270" cy="5259642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>
          <a:xfrm>
            <a:off x="399926" y="329698"/>
            <a:ext cx="4476874" cy="41891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>
          <a:xfrm>
            <a:off x="5699651" y="8780243"/>
            <a:ext cx="927049" cy="251346"/>
          </a:xfrm>
          <a:prstGeom prst="rect">
            <a:avLst/>
          </a:prstGeom>
        </p:spPr>
        <p:txBody>
          <a:bodyPr/>
          <a:lstStyle/>
          <a:p>
            <a:fld id="{CA61E296-9532-40C3-9174-581AD2B7748B}" type="slidenum">
              <a:rPr lang="en-US" smtClean="0"/>
              <a:pPr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3892737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Phase 1 </a:t>
            </a:r>
            <a:r>
              <a:rPr lang="en-US">
                <a:sym typeface="Wingdings" panose="05000000000000000000" pitchFamily="2" charset="2"/>
              </a:rPr>
              <a:t> Brandon helped pull “last update date” (although not always 100% accurate) </a:t>
            </a:r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757C527-D302-0D4C-8820-8247C93BFD8D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3048061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Talk through the color coding 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757C527-D302-0D4C-8820-8247C93BFD8D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5356691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16438" y="6921500"/>
            <a:ext cx="2687637" cy="1512888"/>
          </a:xfrm>
          <a:prstGeom prst="rect">
            <a:avLst/>
          </a:prstGeo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396415" y="1314911"/>
            <a:ext cx="6230270" cy="5259642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>
          <a:xfrm>
            <a:off x="399926" y="329698"/>
            <a:ext cx="4476874" cy="41891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>
          <a:xfrm>
            <a:off x="5699651" y="8780243"/>
            <a:ext cx="927049" cy="251346"/>
          </a:xfrm>
          <a:prstGeom prst="rect">
            <a:avLst/>
          </a:prstGeom>
        </p:spPr>
        <p:txBody>
          <a:bodyPr/>
          <a:lstStyle/>
          <a:p>
            <a:fld id="{CA61E296-9532-40C3-9174-581AD2B7748B}" type="slidenum">
              <a:rPr lang="en-US" smtClean="0"/>
              <a:pPr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3892737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0.svg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4.png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5.emf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Relationship Id="rId6" Type="http://schemas.openxmlformats.org/officeDocument/2006/relationships/image" Target="../media/image7.svg"/><Relationship Id="rId5" Type="http://schemas.openxmlformats.org/officeDocument/2006/relationships/image" Target="../media/image6.png"/><Relationship Id="rId4" Type="http://schemas.openxmlformats.org/officeDocument/2006/relationships/image" Target="../media/image5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2024-01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8BB76970-59B0-02CE-F0CF-5DF2129D58B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15000">
                <a:srgbClr val="140B42"/>
              </a:gs>
              <a:gs pos="80000">
                <a:srgbClr val="005587"/>
              </a:gs>
            </a:gsLst>
            <a:lin ang="2700000" scaled="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t" anchorCtr="0"/>
          <a:lstStyle/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GB" sz="1600" b="0" i="0" u="none" strike="noStrike" kern="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</a:endParaRPr>
          </a:p>
        </p:txBody>
      </p:sp>
      <p:sp>
        <p:nvSpPr>
          <p:cNvPr id="34" name="Text Placeholder 21">
            <a:extLst>
              <a:ext uri="{FF2B5EF4-FFF2-40B4-BE49-F238E27FC236}">
                <a16:creationId xmlns:a16="http://schemas.microsoft.com/office/drawing/2014/main" id="{DF6C4E0C-B7EB-46A6-B6F0-C76FDCFC3F2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13608" y="4175059"/>
            <a:ext cx="5948681" cy="119580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400" b="0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heads are 24pt Arial Italic sentence case</a:t>
            </a:r>
          </a:p>
        </p:txBody>
      </p:sp>
      <p:sp>
        <p:nvSpPr>
          <p:cNvPr id="35" name="Title 1">
            <a:extLst>
              <a:ext uri="{FF2B5EF4-FFF2-40B4-BE49-F238E27FC236}">
                <a16:creationId xmlns:a16="http://schemas.microsoft.com/office/drawing/2014/main" id="{F7111441-0C14-4EE9-B6C1-ED9FC63641C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13608" y="1918354"/>
            <a:ext cx="5948681" cy="2088828"/>
          </a:xfrm>
          <a:prstGeom prst="rect">
            <a:avLst/>
          </a:prstGeom>
        </p:spPr>
        <p:txBody>
          <a:bodyPr anchor="b" anchorCtr="0"/>
          <a:lstStyle>
            <a:lvl1pPr algn="l">
              <a:lnSpc>
                <a:spcPct val="100000"/>
              </a:lnSpc>
              <a:defRPr sz="3600" b="1" i="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Headline 36pt Arial Bold </a:t>
            </a:r>
            <a:br>
              <a:rPr lang="en-US"/>
            </a:br>
            <a:r>
              <a:rPr lang="en-US"/>
              <a:t>Title Case and Can be 3 Lines</a:t>
            </a:r>
          </a:p>
        </p:txBody>
      </p:sp>
      <p:sp>
        <p:nvSpPr>
          <p:cNvPr id="36" name="Subtitle 2">
            <a:extLst>
              <a:ext uri="{FF2B5EF4-FFF2-40B4-BE49-F238E27FC236}">
                <a16:creationId xmlns:a16="http://schemas.microsoft.com/office/drawing/2014/main" id="{413712FA-495E-465D-A2EB-8AA7E6AE552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13608" y="5518464"/>
            <a:ext cx="5948681" cy="669272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200"/>
              </a:spcBef>
              <a:buNone/>
              <a:defRPr sz="160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Author First Last Name, Title 16pt Arial</a:t>
            </a:r>
          </a:p>
        </p:txBody>
      </p:sp>
      <p:sp>
        <p:nvSpPr>
          <p:cNvPr id="5" name="Rectangle: Top Corners Rounded 4">
            <a:extLst>
              <a:ext uri="{FF2B5EF4-FFF2-40B4-BE49-F238E27FC236}">
                <a16:creationId xmlns:a16="http://schemas.microsoft.com/office/drawing/2014/main" id="{C7CB88CE-AFAB-3162-5EFA-DACFAECFC82B}"/>
              </a:ext>
            </a:extLst>
          </p:cNvPr>
          <p:cNvSpPr/>
          <p:nvPr userDrawn="1"/>
        </p:nvSpPr>
        <p:spPr>
          <a:xfrm rot="16200000">
            <a:off x="10172703" y="704015"/>
            <a:ext cx="877958" cy="3160642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err="1"/>
          </a:p>
        </p:txBody>
      </p:sp>
      <p:sp>
        <p:nvSpPr>
          <p:cNvPr id="6" name="Rectangle: Top Corners Rounded 5">
            <a:extLst>
              <a:ext uri="{FF2B5EF4-FFF2-40B4-BE49-F238E27FC236}">
                <a16:creationId xmlns:a16="http://schemas.microsoft.com/office/drawing/2014/main" id="{78BBCD43-EEDD-17C3-B8E4-320E6ECA340F}"/>
              </a:ext>
            </a:extLst>
          </p:cNvPr>
          <p:cNvSpPr/>
          <p:nvPr userDrawn="1"/>
        </p:nvSpPr>
        <p:spPr>
          <a:xfrm rot="16200000">
            <a:off x="10741443" y="4899986"/>
            <a:ext cx="877958" cy="2023162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err="1"/>
          </a:p>
        </p:txBody>
      </p:sp>
      <p:sp>
        <p:nvSpPr>
          <p:cNvPr id="3" name="Rectangle: Top Corners Rounded 2">
            <a:extLst>
              <a:ext uri="{FF2B5EF4-FFF2-40B4-BE49-F238E27FC236}">
                <a16:creationId xmlns:a16="http://schemas.microsoft.com/office/drawing/2014/main" id="{AC34CDE1-031B-F659-37E6-092E1C8890F5}"/>
              </a:ext>
            </a:extLst>
          </p:cNvPr>
          <p:cNvSpPr/>
          <p:nvPr userDrawn="1"/>
        </p:nvSpPr>
        <p:spPr>
          <a:xfrm rot="16200000">
            <a:off x="7833691" y="1545530"/>
            <a:ext cx="3591342" cy="5125276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err="1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EEC8515-986E-A47F-4BDA-CED96BF08D65}"/>
              </a:ext>
            </a:extLst>
          </p:cNvPr>
          <p:cNvSpPr txBox="1"/>
          <p:nvPr userDrawn="1"/>
        </p:nvSpPr>
        <p:spPr bwMode="black">
          <a:xfrm>
            <a:off x="613608" y="6519948"/>
            <a:ext cx="7722832" cy="215444"/>
          </a:xfrm>
          <a:prstGeom prst="rect">
            <a:avLst/>
          </a:prstGeom>
          <a:ln>
            <a:noFill/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rgbClr val="7FD1EF"/>
                </a:solidFill>
                <a:ea typeface="Arial" charset="0"/>
                <a:cs typeface="Arial" charset="0"/>
              </a:rPr>
              <a:t>© 2025. All rights reserved. IQVIA</a:t>
            </a:r>
            <a:r>
              <a:rPr lang="en-US" sz="800" baseline="30000">
                <a:solidFill>
                  <a:srgbClr val="7FD1EF"/>
                </a:solidFill>
                <a:ea typeface="Arial" charset="0"/>
                <a:cs typeface="Arial" charset="0"/>
              </a:rPr>
              <a:t>®</a:t>
            </a:r>
            <a:r>
              <a:rPr lang="en-US" sz="800">
                <a:solidFill>
                  <a:srgbClr val="7FD1EF"/>
                </a:solidFill>
                <a:ea typeface="Arial" charset="0"/>
                <a:cs typeface="Arial" charset="0"/>
              </a:rPr>
              <a:t> is a registered trademark of IQVIA Inc. in the United States, the European Union, and various other countries. </a:t>
            </a:r>
          </a:p>
        </p:txBody>
      </p:sp>
      <p:sp>
        <p:nvSpPr>
          <p:cNvPr id="8" name="Rectangle: Top Corners Rounded 7">
            <a:extLst>
              <a:ext uri="{FF2B5EF4-FFF2-40B4-BE49-F238E27FC236}">
                <a16:creationId xmlns:a16="http://schemas.microsoft.com/office/drawing/2014/main" id="{F0223E2A-EF00-0A08-DA2A-FCB4BDA5AE23}"/>
              </a:ext>
            </a:extLst>
          </p:cNvPr>
          <p:cNvSpPr/>
          <p:nvPr userDrawn="1"/>
        </p:nvSpPr>
        <p:spPr>
          <a:xfrm rot="16200000">
            <a:off x="9058253" y="2934275"/>
            <a:ext cx="877958" cy="5389536"/>
          </a:xfrm>
          <a:custGeom>
            <a:avLst/>
            <a:gdLst>
              <a:gd name="connsiteX0" fmla="*/ 438979 w 877958"/>
              <a:gd name="connsiteY0" fmla="*/ 0 h 5389536"/>
              <a:gd name="connsiteX1" fmla="*/ 438979 w 877958"/>
              <a:gd name="connsiteY1" fmla="*/ 0 h 5389536"/>
              <a:gd name="connsiteX2" fmla="*/ 877958 w 877958"/>
              <a:gd name="connsiteY2" fmla="*/ 438979 h 5389536"/>
              <a:gd name="connsiteX3" fmla="*/ 877958 w 877958"/>
              <a:gd name="connsiteY3" fmla="*/ 5389536 h 5389536"/>
              <a:gd name="connsiteX4" fmla="*/ 877958 w 877958"/>
              <a:gd name="connsiteY4" fmla="*/ 5389536 h 5389536"/>
              <a:gd name="connsiteX5" fmla="*/ 0 w 877958"/>
              <a:gd name="connsiteY5" fmla="*/ 5389536 h 5389536"/>
              <a:gd name="connsiteX6" fmla="*/ 0 w 877958"/>
              <a:gd name="connsiteY6" fmla="*/ 5389536 h 5389536"/>
              <a:gd name="connsiteX7" fmla="*/ 0 w 877958"/>
              <a:gd name="connsiteY7" fmla="*/ 438979 h 5389536"/>
              <a:gd name="connsiteX8" fmla="*/ 438979 w 877958"/>
              <a:gd name="connsiteY8" fmla="*/ 0 h 5389536"/>
              <a:gd name="connsiteX0" fmla="*/ 0 w 877958"/>
              <a:gd name="connsiteY0" fmla="*/ 5389536 h 5480976"/>
              <a:gd name="connsiteX1" fmla="*/ 0 w 877958"/>
              <a:gd name="connsiteY1" fmla="*/ 438979 h 5480976"/>
              <a:gd name="connsiteX2" fmla="*/ 438979 w 877958"/>
              <a:gd name="connsiteY2" fmla="*/ 0 h 5480976"/>
              <a:gd name="connsiteX3" fmla="*/ 438979 w 877958"/>
              <a:gd name="connsiteY3" fmla="*/ 0 h 5480976"/>
              <a:gd name="connsiteX4" fmla="*/ 877958 w 877958"/>
              <a:gd name="connsiteY4" fmla="*/ 438979 h 5480976"/>
              <a:gd name="connsiteX5" fmla="*/ 877958 w 877958"/>
              <a:gd name="connsiteY5" fmla="*/ 5389536 h 5480976"/>
              <a:gd name="connsiteX6" fmla="*/ 877958 w 877958"/>
              <a:gd name="connsiteY6" fmla="*/ 5389536 h 5480976"/>
              <a:gd name="connsiteX7" fmla="*/ 0 w 877958"/>
              <a:gd name="connsiteY7" fmla="*/ 5389536 h 5480976"/>
              <a:gd name="connsiteX8" fmla="*/ 91440 w 877958"/>
              <a:gd name="connsiteY8" fmla="*/ 5480976 h 5480976"/>
              <a:gd name="connsiteX0" fmla="*/ 0 w 877958"/>
              <a:gd name="connsiteY0" fmla="*/ 5389536 h 5389536"/>
              <a:gd name="connsiteX1" fmla="*/ 0 w 877958"/>
              <a:gd name="connsiteY1" fmla="*/ 438979 h 5389536"/>
              <a:gd name="connsiteX2" fmla="*/ 438979 w 877958"/>
              <a:gd name="connsiteY2" fmla="*/ 0 h 5389536"/>
              <a:gd name="connsiteX3" fmla="*/ 438979 w 877958"/>
              <a:gd name="connsiteY3" fmla="*/ 0 h 5389536"/>
              <a:gd name="connsiteX4" fmla="*/ 877958 w 877958"/>
              <a:gd name="connsiteY4" fmla="*/ 438979 h 5389536"/>
              <a:gd name="connsiteX5" fmla="*/ 877958 w 877958"/>
              <a:gd name="connsiteY5" fmla="*/ 5389536 h 5389536"/>
              <a:gd name="connsiteX6" fmla="*/ 877958 w 877958"/>
              <a:gd name="connsiteY6" fmla="*/ 5389536 h 5389536"/>
              <a:gd name="connsiteX7" fmla="*/ 0 w 877958"/>
              <a:gd name="connsiteY7" fmla="*/ 5389536 h 5389536"/>
              <a:gd name="connsiteX0" fmla="*/ 0 w 877958"/>
              <a:gd name="connsiteY0" fmla="*/ 5389536 h 5389536"/>
              <a:gd name="connsiteX1" fmla="*/ 0 w 877958"/>
              <a:gd name="connsiteY1" fmla="*/ 438979 h 5389536"/>
              <a:gd name="connsiteX2" fmla="*/ 438979 w 877958"/>
              <a:gd name="connsiteY2" fmla="*/ 0 h 5389536"/>
              <a:gd name="connsiteX3" fmla="*/ 438979 w 877958"/>
              <a:gd name="connsiteY3" fmla="*/ 0 h 5389536"/>
              <a:gd name="connsiteX4" fmla="*/ 877958 w 877958"/>
              <a:gd name="connsiteY4" fmla="*/ 438979 h 5389536"/>
              <a:gd name="connsiteX5" fmla="*/ 877958 w 877958"/>
              <a:gd name="connsiteY5" fmla="*/ 5389536 h 5389536"/>
              <a:gd name="connsiteX6" fmla="*/ 877958 w 877958"/>
              <a:gd name="connsiteY6" fmla="*/ 5389536 h 53895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77958" h="5389536">
                <a:moveTo>
                  <a:pt x="0" y="5389536"/>
                </a:moveTo>
                <a:lnTo>
                  <a:pt x="0" y="438979"/>
                </a:lnTo>
                <a:cubicBezTo>
                  <a:pt x="0" y="196538"/>
                  <a:pt x="196538" y="0"/>
                  <a:pt x="438979" y="0"/>
                </a:cubicBezTo>
                <a:lnTo>
                  <a:pt x="438979" y="0"/>
                </a:lnTo>
                <a:cubicBezTo>
                  <a:pt x="681420" y="0"/>
                  <a:pt x="877958" y="196538"/>
                  <a:pt x="877958" y="438979"/>
                </a:cubicBezTo>
                <a:lnTo>
                  <a:pt x="877958" y="5389536"/>
                </a:lnTo>
                <a:lnTo>
                  <a:pt x="877958" y="5389536"/>
                </a:lnTo>
              </a:path>
            </a:pathLst>
          </a:custGeom>
          <a:noFill/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endParaRPr lang="en-US" sz="1600" err="1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6025B28D-E9A6-1255-B443-7613304201B6}"/>
              </a:ext>
            </a:extLst>
          </p:cNvPr>
          <p:cNvPicPr>
            <a:picLocks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41709"/>
          <a:stretch/>
        </p:blipFill>
        <p:spPr>
          <a:xfrm>
            <a:off x="9199917" y="735457"/>
            <a:ext cx="2247900" cy="406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4533853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Co-Brand 2024-04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Text Placeholder 21">
            <a:extLst>
              <a:ext uri="{FF2B5EF4-FFF2-40B4-BE49-F238E27FC236}">
                <a16:creationId xmlns:a16="http://schemas.microsoft.com/office/drawing/2014/main" id="{DF6C4E0C-B7EB-46A6-B6F0-C76FDCFC3F2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13608" y="4175059"/>
            <a:ext cx="6270413" cy="119580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400" b="0" i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Subheads are 24pt Arial Italic sentence case</a:t>
            </a:r>
          </a:p>
        </p:txBody>
      </p:sp>
      <p:sp>
        <p:nvSpPr>
          <p:cNvPr id="35" name="Title 1">
            <a:extLst>
              <a:ext uri="{FF2B5EF4-FFF2-40B4-BE49-F238E27FC236}">
                <a16:creationId xmlns:a16="http://schemas.microsoft.com/office/drawing/2014/main" id="{F7111441-0C14-4EE9-B6C1-ED9FC63641C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13608" y="1918354"/>
            <a:ext cx="6270413" cy="2088828"/>
          </a:xfrm>
          <a:prstGeom prst="rect">
            <a:avLst/>
          </a:prstGeom>
        </p:spPr>
        <p:txBody>
          <a:bodyPr anchor="b" anchorCtr="0"/>
          <a:lstStyle>
            <a:lvl1pPr algn="l">
              <a:lnSpc>
                <a:spcPct val="100000"/>
              </a:lnSpc>
              <a:defRPr sz="3600" b="1" i="0" baseline="0">
                <a:solidFill>
                  <a:schemeClr val="accent2"/>
                </a:solidFill>
              </a:defRPr>
            </a:lvl1pPr>
          </a:lstStyle>
          <a:p>
            <a:r>
              <a:rPr lang="en-US"/>
              <a:t>Headline 36pt Arial Bold Title Case and Can be 3 Lines</a:t>
            </a:r>
          </a:p>
        </p:txBody>
      </p:sp>
      <p:sp>
        <p:nvSpPr>
          <p:cNvPr id="36" name="Subtitle 2">
            <a:extLst>
              <a:ext uri="{FF2B5EF4-FFF2-40B4-BE49-F238E27FC236}">
                <a16:creationId xmlns:a16="http://schemas.microsoft.com/office/drawing/2014/main" id="{413712FA-495E-465D-A2EB-8AA7E6AE552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13608" y="5518464"/>
            <a:ext cx="6270413" cy="669272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200"/>
              </a:spcBef>
              <a:buNone/>
              <a:defRPr sz="1600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Author First Last Name, Title 16pt Arial</a:t>
            </a: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605A4C8A-6879-7FCB-0A76-F16EBB9CEB8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31520" y="812800"/>
            <a:ext cx="2247900" cy="406400"/>
          </a:xfrm>
          <a:prstGeom prst="rect">
            <a:avLst/>
          </a:prstGeom>
        </p:spPr>
      </p:pic>
      <p:sp>
        <p:nvSpPr>
          <p:cNvPr id="4" name="Text Placeholder 21">
            <a:extLst>
              <a:ext uri="{FF2B5EF4-FFF2-40B4-BE49-F238E27FC236}">
                <a16:creationId xmlns:a16="http://schemas.microsoft.com/office/drawing/2014/main" id="{9F0BC72C-1AD7-E7CA-ECEC-E76873446974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9281375" y="4854606"/>
            <a:ext cx="2324100" cy="1341752"/>
          </a:xfrm>
          <a:prstGeom prst="rect">
            <a:avLst/>
          </a:prstGeom>
          <a:solidFill>
            <a:srgbClr val="DA291C"/>
          </a:solidFill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000"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o-brand and bid defense only: You may replace this box with a sponsor logo. Ensure the logo is on a white or transparent background and you have usage permission.</a:t>
            </a:r>
            <a:br>
              <a:rPr lang="en-US"/>
            </a:br>
            <a:br>
              <a:rPr lang="en-US"/>
            </a:br>
            <a:r>
              <a:rPr lang="en-US"/>
              <a:t>All other presentations, or without sponsor logo: Please delete this box.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A795383A-AB7C-A1C6-5711-CA54E3E52A6D}"/>
              </a:ext>
            </a:extLst>
          </p:cNvPr>
          <p:cNvSpPr txBox="1"/>
          <p:nvPr userDrawn="1"/>
        </p:nvSpPr>
        <p:spPr bwMode="black">
          <a:xfrm>
            <a:off x="613608" y="6519948"/>
            <a:ext cx="7722832" cy="215444"/>
          </a:xfrm>
          <a:prstGeom prst="rect">
            <a:avLst/>
          </a:prstGeom>
          <a:ln>
            <a:noFill/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chemeClr val="bg1">
                    <a:lumMod val="50000"/>
                  </a:schemeClr>
                </a:solidFill>
                <a:ea typeface="Arial" charset="0"/>
                <a:cs typeface="Arial" charset="0"/>
              </a:rPr>
              <a:t>© 2025. All rights reserved. IQVIA</a:t>
            </a:r>
            <a:r>
              <a:rPr lang="en-US" sz="800" baseline="30000">
                <a:solidFill>
                  <a:schemeClr val="bg1">
                    <a:lumMod val="50000"/>
                  </a:schemeClr>
                </a:solidFill>
                <a:ea typeface="Arial" charset="0"/>
                <a:cs typeface="Arial" charset="0"/>
              </a:rPr>
              <a:t>®</a:t>
            </a:r>
            <a:r>
              <a:rPr lang="en-US" sz="800">
                <a:solidFill>
                  <a:schemeClr val="bg1">
                    <a:lumMod val="50000"/>
                  </a:schemeClr>
                </a:solidFill>
                <a:ea typeface="Arial" charset="0"/>
                <a:cs typeface="Arial" charset="0"/>
              </a:rPr>
              <a:t> is a registered trademark of IQVIA Inc. in the United States, the European Union, and various other countries. </a:t>
            </a:r>
          </a:p>
        </p:txBody>
      </p:sp>
      <p:sp>
        <p:nvSpPr>
          <p:cNvPr id="5" name="Freeform: Shape 4">
            <a:extLst>
              <a:ext uri="{FF2B5EF4-FFF2-40B4-BE49-F238E27FC236}">
                <a16:creationId xmlns:a16="http://schemas.microsoft.com/office/drawing/2014/main" id="{4493F902-AAD1-8100-DE89-9A4C865E166B}"/>
              </a:ext>
            </a:extLst>
          </p:cNvPr>
          <p:cNvSpPr/>
          <p:nvPr userDrawn="1"/>
        </p:nvSpPr>
        <p:spPr>
          <a:xfrm rot="2700000">
            <a:off x="9798166" y="-906004"/>
            <a:ext cx="1193902" cy="4301542"/>
          </a:xfrm>
          <a:custGeom>
            <a:avLst/>
            <a:gdLst>
              <a:gd name="connsiteX0" fmla="*/ 0 w 1193902"/>
              <a:gd name="connsiteY0" fmla="*/ 987355 h 4301542"/>
              <a:gd name="connsiteX1" fmla="*/ 987355 w 1193902"/>
              <a:gd name="connsiteY1" fmla="*/ 0 h 4301542"/>
              <a:gd name="connsiteX2" fmla="*/ 1193902 w 1193902"/>
              <a:gd name="connsiteY2" fmla="*/ 206546 h 4301542"/>
              <a:gd name="connsiteX3" fmla="*/ 1193901 w 1193902"/>
              <a:gd name="connsiteY3" fmla="*/ 3704591 h 4301542"/>
              <a:gd name="connsiteX4" fmla="*/ 596950 w 1193902"/>
              <a:gd name="connsiteY4" fmla="*/ 4301542 h 4301542"/>
              <a:gd name="connsiteX5" fmla="*/ 596951 w 1193902"/>
              <a:gd name="connsiteY5" fmla="*/ 4301541 h 4301542"/>
              <a:gd name="connsiteX6" fmla="*/ 0 w 1193902"/>
              <a:gd name="connsiteY6" fmla="*/ 3704590 h 4301542"/>
              <a:gd name="connsiteX0" fmla="*/ 987355 w 1193902"/>
              <a:gd name="connsiteY0" fmla="*/ 0 h 4301542"/>
              <a:gd name="connsiteX1" fmla="*/ 1193902 w 1193902"/>
              <a:gd name="connsiteY1" fmla="*/ 206546 h 4301542"/>
              <a:gd name="connsiteX2" fmla="*/ 1193901 w 1193902"/>
              <a:gd name="connsiteY2" fmla="*/ 3704591 h 4301542"/>
              <a:gd name="connsiteX3" fmla="*/ 596950 w 1193902"/>
              <a:gd name="connsiteY3" fmla="*/ 4301542 h 4301542"/>
              <a:gd name="connsiteX4" fmla="*/ 596951 w 1193902"/>
              <a:gd name="connsiteY4" fmla="*/ 4301541 h 4301542"/>
              <a:gd name="connsiteX5" fmla="*/ 0 w 1193902"/>
              <a:gd name="connsiteY5" fmla="*/ 3704590 h 4301542"/>
              <a:gd name="connsiteX6" fmla="*/ 0 w 1193902"/>
              <a:gd name="connsiteY6" fmla="*/ 987355 h 4301542"/>
              <a:gd name="connsiteX7" fmla="*/ 1078795 w 1193902"/>
              <a:gd name="connsiteY7" fmla="*/ 91440 h 4301542"/>
              <a:gd name="connsiteX0" fmla="*/ 987355 w 1193902"/>
              <a:gd name="connsiteY0" fmla="*/ 0 h 4301542"/>
              <a:gd name="connsiteX1" fmla="*/ 1193902 w 1193902"/>
              <a:gd name="connsiteY1" fmla="*/ 206546 h 4301542"/>
              <a:gd name="connsiteX2" fmla="*/ 1193901 w 1193902"/>
              <a:gd name="connsiteY2" fmla="*/ 3704591 h 4301542"/>
              <a:gd name="connsiteX3" fmla="*/ 596950 w 1193902"/>
              <a:gd name="connsiteY3" fmla="*/ 4301542 h 4301542"/>
              <a:gd name="connsiteX4" fmla="*/ 596951 w 1193902"/>
              <a:gd name="connsiteY4" fmla="*/ 4301541 h 4301542"/>
              <a:gd name="connsiteX5" fmla="*/ 0 w 1193902"/>
              <a:gd name="connsiteY5" fmla="*/ 3704590 h 4301542"/>
              <a:gd name="connsiteX6" fmla="*/ 0 w 1193902"/>
              <a:gd name="connsiteY6" fmla="*/ 987355 h 43015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193902" h="4301542">
                <a:moveTo>
                  <a:pt x="987355" y="0"/>
                </a:moveTo>
                <a:lnTo>
                  <a:pt x="1193902" y="206546"/>
                </a:lnTo>
                <a:cubicBezTo>
                  <a:pt x="1193902" y="1372561"/>
                  <a:pt x="1193901" y="2538576"/>
                  <a:pt x="1193901" y="3704591"/>
                </a:cubicBezTo>
                <a:cubicBezTo>
                  <a:pt x="1193901" y="4034278"/>
                  <a:pt x="926637" y="4301542"/>
                  <a:pt x="596950" y="4301542"/>
                </a:cubicBezTo>
                <a:lnTo>
                  <a:pt x="596951" y="4301541"/>
                </a:lnTo>
                <a:cubicBezTo>
                  <a:pt x="267264" y="4301541"/>
                  <a:pt x="0" y="4034277"/>
                  <a:pt x="0" y="3704590"/>
                </a:cubicBezTo>
                <a:lnTo>
                  <a:pt x="0" y="987355"/>
                </a:lnTo>
              </a:path>
            </a:pathLst>
          </a:custGeom>
          <a:noFill/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algn="l"/>
            <a:endParaRPr lang="en-US" sz="1600" err="1"/>
          </a:p>
        </p:txBody>
      </p:sp>
      <p:sp>
        <p:nvSpPr>
          <p:cNvPr id="6" name="Freeform: Shape 5">
            <a:extLst>
              <a:ext uri="{FF2B5EF4-FFF2-40B4-BE49-F238E27FC236}">
                <a16:creationId xmlns:a16="http://schemas.microsoft.com/office/drawing/2014/main" id="{7FC2DBB2-A181-4E29-6CCA-A8F30AC33C44}"/>
              </a:ext>
            </a:extLst>
          </p:cNvPr>
          <p:cNvSpPr/>
          <p:nvPr userDrawn="1"/>
        </p:nvSpPr>
        <p:spPr>
          <a:xfrm rot="2700000">
            <a:off x="11019741" y="1955164"/>
            <a:ext cx="825711" cy="2790751"/>
          </a:xfrm>
          <a:custGeom>
            <a:avLst/>
            <a:gdLst>
              <a:gd name="connsiteX0" fmla="*/ 0 w 825711"/>
              <a:gd name="connsiteY0" fmla="*/ 0 h 2882191"/>
              <a:gd name="connsiteX1" fmla="*/ 825711 w 825711"/>
              <a:gd name="connsiteY1" fmla="*/ 825711 h 2882191"/>
              <a:gd name="connsiteX2" fmla="*/ 825711 w 825711"/>
              <a:gd name="connsiteY2" fmla="*/ 2469335 h 2882191"/>
              <a:gd name="connsiteX3" fmla="*/ 412855 w 825711"/>
              <a:gd name="connsiteY3" fmla="*/ 2882191 h 2882191"/>
              <a:gd name="connsiteX4" fmla="*/ 412856 w 825711"/>
              <a:gd name="connsiteY4" fmla="*/ 2882190 h 2882191"/>
              <a:gd name="connsiteX5" fmla="*/ 0 w 825711"/>
              <a:gd name="connsiteY5" fmla="*/ 2469334 h 2882191"/>
              <a:gd name="connsiteX0" fmla="*/ 0 w 825711"/>
              <a:gd name="connsiteY0" fmla="*/ 0 h 2882191"/>
              <a:gd name="connsiteX1" fmla="*/ 825711 w 825711"/>
              <a:gd name="connsiteY1" fmla="*/ 825711 h 2882191"/>
              <a:gd name="connsiteX2" fmla="*/ 825711 w 825711"/>
              <a:gd name="connsiteY2" fmla="*/ 2469335 h 2882191"/>
              <a:gd name="connsiteX3" fmla="*/ 412855 w 825711"/>
              <a:gd name="connsiteY3" fmla="*/ 2882191 h 2882191"/>
              <a:gd name="connsiteX4" fmla="*/ 412856 w 825711"/>
              <a:gd name="connsiteY4" fmla="*/ 2882190 h 2882191"/>
              <a:gd name="connsiteX5" fmla="*/ 0 w 825711"/>
              <a:gd name="connsiteY5" fmla="*/ 2469334 h 2882191"/>
              <a:gd name="connsiteX6" fmla="*/ 91440 w 825711"/>
              <a:gd name="connsiteY6" fmla="*/ 91440 h 2882191"/>
              <a:gd name="connsiteX0" fmla="*/ 825711 w 825711"/>
              <a:gd name="connsiteY0" fmla="*/ 734271 h 2790751"/>
              <a:gd name="connsiteX1" fmla="*/ 825711 w 825711"/>
              <a:gd name="connsiteY1" fmla="*/ 2377895 h 2790751"/>
              <a:gd name="connsiteX2" fmla="*/ 412855 w 825711"/>
              <a:gd name="connsiteY2" fmla="*/ 2790751 h 2790751"/>
              <a:gd name="connsiteX3" fmla="*/ 412856 w 825711"/>
              <a:gd name="connsiteY3" fmla="*/ 2790750 h 2790751"/>
              <a:gd name="connsiteX4" fmla="*/ 0 w 825711"/>
              <a:gd name="connsiteY4" fmla="*/ 2377894 h 2790751"/>
              <a:gd name="connsiteX5" fmla="*/ 91440 w 825711"/>
              <a:gd name="connsiteY5" fmla="*/ 0 h 27907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25711" h="2790751">
                <a:moveTo>
                  <a:pt x="825711" y="734271"/>
                </a:moveTo>
                <a:lnTo>
                  <a:pt x="825711" y="2377895"/>
                </a:lnTo>
                <a:cubicBezTo>
                  <a:pt x="825711" y="2605909"/>
                  <a:pt x="640869" y="2790751"/>
                  <a:pt x="412855" y="2790751"/>
                </a:cubicBezTo>
                <a:lnTo>
                  <a:pt x="412856" y="2790750"/>
                </a:lnTo>
                <a:cubicBezTo>
                  <a:pt x="184842" y="2790750"/>
                  <a:pt x="0" y="2605908"/>
                  <a:pt x="0" y="2377894"/>
                </a:cubicBezTo>
                <a:cubicBezTo>
                  <a:pt x="0" y="1554783"/>
                  <a:pt x="91440" y="0"/>
                  <a:pt x="91440" y="0"/>
                </a:cubicBezTo>
              </a:path>
            </a:pathLst>
          </a:custGeom>
          <a:noFill/>
          <a:ln w="12700">
            <a:solidFill>
              <a:srgbClr val="2B3A4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lvl="0"/>
            <a:endParaRPr lang="en-US" sz="1600" err="1"/>
          </a:p>
        </p:txBody>
      </p:sp>
      <p:sp>
        <p:nvSpPr>
          <p:cNvPr id="7" name="Freeform: Shape 6">
            <a:extLst>
              <a:ext uri="{FF2B5EF4-FFF2-40B4-BE49-F238E27FC236}">
                <a16:creationId xmlns:a16="http://schemas.microsoft.com/office/drawing/2014/main" id="{AFC722F8-9A5C-19E5-0242-1E41CA5B41E8}"/>
              </a:ext>
            </a:extLst>
          </p:cNvPr>
          <p:cNvSpPr/>
          <p:nvPr userDrawn="1"/>
        </p:nvSpPr>
        <p:spPr>
          <a:xfrm rot="2700000">
            <a:off x="10059962" y="-488825"/>
            <a:ext cx="1032256" cy="5442037"/>
          </a:xfrm>
          <a:custGeom>
            <a:avLst/>
            <a:gdLst>
              <a:gd name="connsiteX0" fmla="*/ 0 w 1032256"/>
              <a:gd name="connsiteY0" fmla="*/ 80350 h 5442037"/>
              <a:gd name="connsiteX1" fmla="*/ 80350 w 1032256"/>
              <a:gd name="connsiteY1" fmla="*/ 0 h 5442037"/>
              <a:gd name="connsiteX2" fmla="*/ 1032256 w 1032256"/>
              <a:gd name="connsiteY2" fmla="*/ 951906 h 5442037"/>
              <a:gd name="connsiteX3" fmla="*/ 1032255 w 1032256"/>
              <a:gd name="connsiteY3" fmla="*/ 4925909 h 5442037"/>
              <a:gd name="connsiteX4" fmla="*/ 516127 w 1032256"/>
              <a:gd name="connsiteY4" fmla="*/ 5442037 h 5442037"/>
              <a:gd name="connsiteX5" fmla="*/ 516128 w 1032256"/>
              <a:gd name="connsiteY5" fmla="*/ 5442036 h 5442037"/>
              <a:gd name="connsiteX6" fmla="*/ 0 w 1032256"/>
              <a:gd name="connsiteY6" fmla="*/ 4925908 h 54420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32256" h="5442037">
                <a:moveTo>
                  <a:pt x="0" y="80350"/>
                </a:moveTo>
                <a:lnTo>
                  <a:pt x="80350" y="0"/>
                </a:lnTo>
                <a:lnTo>
                  <a:pt x="1032256" y="951906"/>
                </a:lnTo>
                <a:lnTo>
                  <a:pt x="1032255" y="4925909"/>
                </a:lnTo>
                <a:cubicBezTo>
                  <a:pt x="1032255" y="5210959"/>
                  <a:pt x="801177" y="5442037"/>
                  <a:pt x="516127" y="5442037"/>
                </a:cubicBezTo>
                <a:lnTo>
                  <a:pt x="516128" y="5442036"/>
                </a:lnTo>
                <a:cubicBezTo>
                  <a:pt x="231078" y="5442036"/>
                  <a:pt x="0" y="5210958"/>
                  <a:pt x="0" y="4925908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algn="l"/>
            <a:endParaRPr lang="en-US" sz="1600" err="1"/>
          </a:p>
        </p:txBody>
      </p:sp>
      <p:sp>
        <p:nvSpPr>
          <p:cNvPr id="8" name="Freeform: Shape 7">
            <a:extLst>
              <a:ext uri="{FF2B5EF4-FFF2-40B4-BE49-F238E27FC236}">
                <a16:creationId xmlns:a16="http://schemas.microsoft.com/office/drawing/2014/main" id="{461D5A5C-10B5-236E-C5A3-320C49CAC101}"/>
              </a:ext>
            </a:extLst>
          </p:cNvPr>
          <p:cNvSpPr/>
          <p:nvPr userDrawn="1"/>
        </p:nvSpPr>
        <p:spPr>
          <a:xfrm rot="2700000">
            <a:off x="10155384" y="-743160"/>
            <a:ext cx="619166" cy="4750557"/>
          </a:xfrm>
          <a:custGeom>
            <a:avLst/>
            <a:gdLst>
              <a:gd name="connsiteX0" fmla="*/ 0 w 619166"/>
              <a:gd name="connsiteY0" fmla="*/ 376697 h 4750557"/>
              <a:gd name="connsiteX1" fmla="*/ 376697 w 619166"/>
              <a:gd name="connsiteY1" fmla="*/ 0 h 4750557"/>
              <a:gd name="connsiteX2" fmla="*/ 619166 w 619166"/>
              <a:gd name="connsiteY2" fmla="*/ 242469 h 4750557"/>
              <a:gd name="connsiteX3" fmla="*/ 619165 w 619166"/>
              <a:gd name="connsiteY3" fmla="*/ 4440974 h 4750557"/>
              <a:gd name="connsiteX4" fmla="*/ 309582 w 619166"/>
              <a:gd name="connsiteY4" fmla="*/ 4750557 h 4750557"/>
              <a:gd name="connsiteX5" fmla="*/ 309583 w 619166"/>
              <a:gd name="connsiteY5" fmla="*/ 4750556 h 4750557"/>
              <a:gd name="connsiteX6" fmla="*/ 0 w 619166"/>
              <a:gd name="connsiteY6" fmla="*/ 4440973 h 47505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19166" h="4750557">
                <a:moveTo>
                  <a:pt x="0" y="376697"/>
                </a:moveTo>
                <a:lnTo>
                  <a:pt x="376697" y="0"/>
                </a:lnTo>
                <a:lnTo>
                  <a:pt x="619166" y="242469"/>
                </a:lnTo>
                <a:lnTo>
                  <a:pt x="619165" y="4440974"/>
                </a:lnTo>
                <a:cubicBezTo>
                  <a:pt x="619165" y="4611952"/>
                  <a:pt x="480560" y="4750557"/>
                  <a:pt x="309582" y="4750557"/>
                </a:cubicBezTo>
                <a:lnTo>
                  <a:pt x="309583" y="4750556"/>
                </a:lnTo>
                <a:cubicBezTo>
                  <a:pt x="138605" y="4750556"/>
                  <a:pt x="0" y="4611951"/>
                  <a:pt x="0" y="4440973"/>
                </a:cubicBezTo>
                <a:close/>
              </a:path>
            </a:pathLst>
          </a:custGeom>
          <a:solidFill>
            <a:srgbClr val="0CEFC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endParaRPr lang="en-US" sz="1600" err="1"/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F380E180-0B33-1124-60B3-4CE23784FB15}"/>
              </a:ext>
            </a:extLst>
          </p:cNvPr>
          <p:cNvSpPr/>
          <p:nvPr userDrawn="1"/>
        </p:nvSpPr>
        <p:spPr>
          <a:xfrm rot="2700000">
            <a:off x="10829819" y="1073856"/>
            <a:ext cx="825711" cy="3510810"/>
          </a:xfrm>
          <a:custGeom>
            <a:avLst/>
            <a:gdLst>
              <a:gd name="connsiteX0" fmla="*/ 0 w 825711"/>
              <a:gd name="connsiteY0" fmla="*/ 0 h 3510810"/>
              <a:gd name="connsiteX1" fmla="*/ 825711 w 825711"/>
              <a:gd name="connsiteY1" fmla="*/ 825711 h 3510810"/>
              <a:gd name="connsiteX2" fmla="*/ 825711 w 825711"/>
              <a:gd name="connsiteY2" fmla="*/ 3097954 h 3510810"/>
              <a:gd name="connsiteX3" fmla="*/ 412855 w 825711"/>
              <a:gd name="connsiteY3" fmla="*/ 3510810 h 3510810"/>
              <a:gd name="connsiteX4" fmla="*/ 412856 w 825711"/>
              <a:gd name="connsiteY4" fmla="*/ 3510809 h 3510810"/>
              <a:gd name="connsiteX5" fmla="*/ 0 w 825711"/>
              <a:gd name="connsiteY5" fmla="*/ 3097953 h 35108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25711" h="3510810">
                <a:moveTo>
                  <a:pt x="0" y="0"/>
                </a:moveTo>
                <a:lnTo>
                  <a:pt x="825711" y="825711"/>
                </a:lnTo>
                <a:lnTo>
                  <a:pt x="825711" y="3097954"/>
                </a:lnTo>
                <a:cubicBezTo>
                  <a:pt x="825711" y="3325968"/>
                  <a:pt x="640869" y="3510810"/>
                  <a:pt x="412855" y="3510810"/>
                </a:cubicBezTo>
                <a:lnTo>
                  <a:pt x="412856" y="3510809"/>
                </a:lnTo>
                <a:cubicBezTo>
                  <a:pt x="184842" y="3510809"/>
                  <a:pt x="0" y="3325967"/>
                  <a:pt x="0" y="309795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endParaRPr lang="en-US" sz="1600" err="1"/>
          </a:p>
        </p:txBody>
      </p:sp>
    </p:spTree>
    <p:extLst>
      <p:ext uri="{BB962C8B-B14F-4D97-AF65-F5344CB8AC3E}">
        <p14:creationId xmlns:p14="http://schemas.microsoft.com/office/powerpoint/2010/main" val="25825657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84694" y="1286359"/>
            <a:ext cx="11338560" cy="4994125"/>
          </a:xfrm>
          <a:prstGeom prst="rect">
            <a:avLst/>
          </a:prstGeom>
        </p:spPr>
        <p:txBody>
          <a:bodyPr/>
          <a:lstStyle>
            <a:lvl1pPr marL="182880" indent="-18288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6576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4864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3152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8288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Arial 16pt bullet level 1</a:t>
            </a:r>
          </a:p>
          <a:p>
            <a:pPr lvl="1"/>
            <a:r>
              <a:rPr lang="en-US"/>
              <a:t>Arial 16pt bullet level 2</a:t>
            </a:r>
          </a:p>
          <a:p>
            <a:pPr lvl="2"/>
            <a:r>
              <a:rPr lang="en-US"/>
              <a:t>Arial 16pt bullet level 3</a:t>
            </a:r>
          </a:p>
          <a:p>
            <a:pPr lvl="3"/>
            <a:r>
              <a:rPr lang="en-US"/>
              <a:t>Arial 16pt bullet level 4</a:t>
            </a:r>
          </a:p>
          <a:p>
            <a:pPr lvl="4"/>
            <a:r>
              <a:rPr lang="en-US"/>
              <a:t>Arial 16pt bullet level 5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>
          <a:xfrm>
            <a:off x="384694" y="294468"/>
            <a:ext cx="11338560" cy="768263"/>
          </a:xfrm>
          <a:prstGeom prst="rect">
            <a:avLst/>
          </a:prstGeom>
        </p:spPr>
        <p:txBody>
          <a:bodyPr anchor="b" anchorCtr="0"/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/>
              <a:t>Headlines are 28pt Arial Bold sentence case</a:t>
            </a:r>
          </a:p>
        </p:txBody>
      </p:sp>
      <p:sp>
        <p:nvSpPr>
          <p:cNvPr id="54" name="Footer Placeholder 4">
            <a:extLst>
              <a:ext uri="{FF2B5EF4-FFF2-40B4-BE49-F238E27FC236}">
                <a16:creationId xmlns:a16="http://schemas.microsoft.com/office/drawing/2014/main" id="{7088911A-0046-5847-8D5E-667B718ECD3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84694" y="6387858"/>
            <a:ext cx="9285484" cy="338087"/>
          </a:xfrm>
          <a:prstGeom prst="rect">
            <a:avLst/>
          </a:prstGeom>
          <a:noFill/>
        </p:spPr>
        <p:txBody>
          <a:bodyPr vert="horz" lIns="91440" tIns="45720" rIns="91440" bIns="45720" rtlCol="0" anchor="b" anchorCtr="0"/>
          <a:lstStyle>
            <a:lvl1pPr algn="l">
              <a:defRPr sz="8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</a:lstStyle>
          <a:p>
            <a:endParaRPr lang="en-US"/>
          </a:p>
        </p:txBody>
      </p:sp>
      <p:sp>
        <p:nvSpPr>
          <p:cNvPr id="30" name="Slide Number Placeholder 5">
            <a:extLst>
              <a:ext uri="{FF2B5EF4-FFF2-40B4-BE49-F238E27FC236}">
                <a16:creationId xmlns:a16="http://schemas.microsoft.com/office/drawing/2014/main" id="{FCFC63C0-5262-4767-9F93-DEDAECE24DB7}"/>
              </a:ext>
            </a:extLst>
          </p:cNvPr>
          <p:cNvSpPr txBox="1">
            <a:spLocks/>
          </p:cNvSpPr>
          <p:nvPr/>
        </p:nvSpPr>
        <p:spPr bwMode="white">
          <a:xfrm>
            <a:off x="11723254" y="6544746"/>
            <a:ext cx="3530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rgbClr val="959CA0"/>
                </a:solidFill>
              </a:rPr>
              <a:t>‹#›</a:t>
            </a:fld>
            <a:endParaRPr lang="en-US" sz="800" b="0">
              <a:solidFill>
                <a:srgbClr val="959CA0"/>
              </a:solidFill>
            </a:endParaRP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DB41C48F-5C1D-DE41-93AD-B4E269C3B3A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376299" y="6535995"/>
            <a:ext cx="1143000" cy="215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5409650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_Subhead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" name="Content Placeholder 2">
            <a:extLst>
              <a:ext uri="{FF2B5EF4-FFF2-40B4-BE49-F238E27FC236}">
                <a16:creationId xmlns:a16="http://schemas.microsoft.com/office/drawing/2014/main" id="{098016E9-779F-F844-B7C6-670D5E2ED4DC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384694" y="1702630"/>
            <a:ext cx="11338560" cy="4577854"/>
          </a:xfrm>
          <a:prstGeom prst="rect">
            <a:avLst/>
          </a:prstGeom>
        </p:spPr>
        <p:txBody>
          <a:bodyPr/>
          <a:lstStyle>
            <a:lvl1pPr marL="182880" indent="-18288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6576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4864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3152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8288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Arial 16pt bullet level 1</a:t>
            </a:r>
          </a:p>
          <a:p>
            <a:pPr lvl="1"/>
            <a:r>
              <a:rPr lang="en-US"/>
              <a:t>Arial 16pt bullet level 2</a:t>
            </a:r>
          </a:p>
          <a:p>
            <a:pPr lvl="2"/>
            <a:r>
              <a:rPr lang="en-US"/>
              <a:t>Arial 16pt bullet level 3</a:t>
            </a:r>
          </a:p>
          <a:p>
            <a:pPr lvl="3"/>
            <a:r>
              <a:rPr lang="en-US"/>
              <a:t>Arial 16pt bullet level 4</a:t>
            </a:r>
          </a:p>
          <a:p>
            <a:pPr lvl="4"/>
            <a:r>
              <a:rPr lang="en-US"/>
              <a:t>Arial 16pt bullet level 5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384694" y="1081826"/>
            <a:ext cx="11338560" cy="40233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2000" i="1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Subheads are 20pt Arial Italic sentence cas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4694" y="294468"/>
            <a:ext cx="11338560" cy="768263"/>
          </a:xfrm>
          <a:prstGeom prst="rect">
            <a:avLst/>
          </a:prstGeom>
        </p:spPr>
        <p:txBody>
          <a:bodyPr anchor="b" anchorCtr="0"/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/>
              <a:t>Headlines are 28pt Arial Bold sentence case</a:t>
            </a:r>
          </a:p>
        </p:txBody>
      </p:sp>
      <p:sp>
        <p:nvSpPr>
          <p:cNvPr id="56" name="Footer Placeholder 4">
            <a:extLst>
              <a:ext uri="{FF2B5EF4-FFF2-40B4-BE49-F238E27FC236}">
                <a16:creationId xmlns:a16="http://schemas.microsoft.com/office/drawing/2014/main" id="{4C2A7798-04D8-114F-865E-17D9C5B73EA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84694" y="6387858"/>
            <a:ext cx="9285484" cy="338087"/>
          </a:xfrm>
          <a:prstGeom prst="rect">
            <a:avLst/>
          </a:prstGeom>
          <a:noFill/>
        </p:spPr>
        <p:txBody>
          <a:bodyPr vert="horz" lIns="91440" tIns="45720" rIns="91440" bIns="45720" rtlCol="0" anchor="b" anchorCtr="0"/>
          <a:lstStyle>
            <a:lvl1pPr algn="l">
              <a:defRPr sz="8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</a:lstStyle>
          <a:p>
            <a:endParaRPr lang="en-US"/>
          </a:p>
        </p:txBody>
      </p:sp>
      <p:sp>
        <p:nvSpPr>
          <p:cNvPr id="31" name="Slide Number Placeholder 5">
            <a:extLst>
              <a:ext uri="{FF2B5EF4-FFF2-40B4-BE49-F238E27FC236}">
                <a16:creationId xmlns:a16="http://schemas.microsoft.com/office/drawing/2014/main" id="{780491F4-CBE5-420D-B41C-DA1186C29721}"/>
              </a:ext>
            </a:extLst>
          </p:cNvPr>
          <p:cNvSpPr txBox="1">
            <a:spLocks/>
          </p:cNvSpPr>
          <p:nvPr/>
        </p:nvSpPr>
        <p:spPr bwMode="white">
          <a:xfrm>
            <a:off x="11723254" y="6544746"/>
            <a:ext cx="3530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rgbClr val="959CA0"/>
                </a:solidFill>
              </a:rPr>
              <a:t>‹#›</a:t>
            </a:fld>
            <a:endParaRPr lang="en-US" sz="800" b="0">
              <a:solidFill>
                <a:srgbClr val="959CA0"/>
              </a:solidFill>
            </a:endParaRPr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C127A24E-C6A6-B348-9405-8C826F52F91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376299" y="6535995"/>
            <a:ext cx="1143000" cy="215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9801252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_Callout Opt1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Graphic 16">
            <a:extLst>
              <a:ext uri="{FF2B5EF4-FFF2-40B4-BE49-F238E27FC236}">
                <a16:creationId xmlns:a16="http://schemas.microsoft.com/office/drawing/2014/main" id="{B39BD980-859A-ED43-B5E0-B78C35812A8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376299" y="6535995"/>
            <a:ext cx="1143000" cy="215900"/>
          </a:xfrm>
          <a:prstGeom prst="rect">
            <a:avLst/>
          </a:prstGeom>
        </p:spPr>
      </p:pic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9531A8FC-B139-A448-96B7-DB54D8693F95}"/>
              </a:ext>
            </a:extLst>
          </p:cNvPr>
          <p:cNvCxnSpPr>
            <a:cxnSpLocks/>
          </p:cNvCxnSpPr>
          <p:nvPr/>
        </p:nvCxnSpPr>
        <p:spPr>
          <a:xfrm>
            <a:off x="8132063" y="1784927"/>
            <a:ext cx="4148329" cy="0"/>
          </a:xfrm>
          <a:prstGeom prst="line">
            <a:avLst/>
          </a:prstGeom>
          <a:ln w="25400" cap="rnd">
            <a:solidFill>
              <a:schemeClr val="accent2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Content Placeholder 2">
            <a:extLst>
              <a:ext uri="{FF2B5EF4-FFF2-40B4-BE49-F238E27FC236}">
                <a16:creationId xmlns:a16="http://schemas.microsoft.com/office/drawing/2014/main" id="{D88AF363-7A35-104E-9A0A-BC860A4A42C8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384694" y="1702626"/>
            <a:ext cx="7492481" cy="4577849"/>
          </a:xfrm>
          <a:prstGeom prst="rect">
            <a:avLst/>
          </a:prstGeom>
        </p:spPr>
        <p:txBody>
          <a:bodyPr/>
          <a:lstStyle>
            <a:lvl1pPr marL="182880" indent="-18288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6576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4864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3152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8288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Arial 16pt bullet level 1</a:t>
            </a:r>
          </a:p>
          <a:p>
            <a:pPr lvl="1"/>
            <a:r>
              <a:rPr lang="en-US"/>
              <a:t>Arial 16pt bullet level 2</a:t>
            </a:r>
          </a:p>
          <a:p>
            <a:pPr lvl="2"/>
            <a:r>
              <a:rPr lang="en-US"/>
              <a:t>Arial 16pt bullet level 3</a:t>
            </a:r>
          </a:p>
          <a:p>
            <a:pPr lvl="3"/>
            <a:r>
              <a:rPr lang="en-US"/>
              <a:t>Arial 16pt bullet level 4</a:t>
            </a:r>
          </a:p>
          <a:p>
            <a:pPr lvl="4"/>
            <a:r>
              <a:rPr lang="en-US"/>
              <a:t>Arial 16pt bullet level 5</a:t>
            </a:r>
          </a:p>
        </p:txBody>
      </p:sp>
      <p:sp>
        <p:nvSpPr>
          <p:cNvPr id="8" name="Text Placeholder 11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8132063" y="1876358"/>
            <a:ext cx="3764662" cy="4404117"/>
          </a:xfrm>
          <a:prstGeom prst="rect">
            <a:avLst/>
          </a:prstGeom>
        </p:spPr>
        <p:txBody>
          <a:bodyPr wrap="square" anchor="t" anchorCtr="0">
            <a:noAutofit/>
          </a:bodyPr>
          <a:lstStyle>
            <a:lvl1pPr marL="0" marR="0" indent="0" algn="l" defTabSz="1219170" rtl="0" eaLnBrk="0" fontAlgn="base" latinLnBrk="0" hangingPunct="0">
              <a:lnSpc>
                <a:spcPct val="125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2000" b="1" i="0" baseline="0">
                <a:solidFill>
                  <a:schemeClr val="accent2"/>
                </a:solidFill>
                <a:latin typeface="+mj-lt"/>
              </a:defRPr>
            </a:lvl1pPr>
            <a:lvl2pPr marL="230188" indent="-119063">
              <a:lnSpc>
                <a:spcPct val="100000"/>
              </a:lnSpc>
              <a:buFont typeface="Arial"/>
              <a:buChar char="•"/>
              <a:defRPr sz="1200" b="0" i="0" baseline="0">
                <a:solidFill>
                  <a:schemeClr val="accent1"/>
                </a:solidFill>
                <a:latin typeface="+mj-lt"/>
                <a:cs typeface="Arial"/>
              </a:defRPr>
            </a:lvl2pPr>
            <a:lvl3pPr marL="609585" indent="-228594">
              <a:lnSpc>
                <a:spcPct val="100000"/>
              </a:lnSpc>
              <a:buFont typeface="Arial" pitchFamily="34" charset="0"/>
              <a:buChar char="•"/>
              <a:defRPr sz="1200" b="0" i="0">
                <a:solidFill>
                  <a:schemeClr val="bg1"/>
                </a:solidFill>
                <a:latin typeface="+mj-lt"/>
                <a:cs typeface="Arial"/>
              </a:defRPr>
            </a:lvl3pPr>
            <a:lvl4pPr>
              <a:defRPr sz="2133" b="0" i="0">
                <a:latin typeface="Georgia" pitchFamily="18" charset="0"/>
              </a:defRPr>
            </a:lvl4pPr>
          </a:lstStyle>
          <a:p>
            <a:pPr lvl="0"/>
            <a:r>
              <a:rPr lang="en-US" noProof="0"/>
              <a:t>Callouts are 20pt Arial Bold sentence case lorem ipsum dolor sit </a:t>
            </a:r>
            <a:r>
              <a:rPr lang="en-US" noProof="0" err="1"/>
              <a:t>amet</a:t>
            </a:r>
            <a:r>
              <a:rPr lang="en-US" noProof="0"/>
              <a:t>, </a:t>
            </a:r>
            <a:r>
              <a:rPr lang="en-US" noProof="0" err="1"/>
              <a:t>consec</a:t>
            </a:r>
            <a:r>
              <a:rPr lang="en-US" noProof="0"/>
              <a:t> </a:t>
            </a:r>
            <a:r>
              <a:rPr lang="en-US" noProof="0" err="1"/>
              <a:t>tetuer</a:t>
            </a:r>
            <a:r>
              <a:rPr lang="en-US" noProof="0"/>
              <a:t> </a:t>
            </a:r>
            <a:r>
              <a:rPr lang="en-US" noProof="0" err="1"/>
              <a:t>adipiscing</a:t>
            </a:r>
            <a:r>
              <a:rPr lang="en-US" noProof="0"/>
              <a:t> </a:t>
            </a:r>
            <a:r>
              <a:rPr lang="en-US" noProof="0" err="1"/>
              <a:t>elit</a:t>
            </a:r>
            <a:r>
              <a:rPr lang="en-US" noProof="0"/>
              <a:t>, </a:t>
            </a:r>
            <a:r>
              <a:rPr lang="en-US" noProof="0" err="1"/>
              <a:t>sed</a:t>
            </a:r>
            <a:r>
              <a:rPr lang="en-US" noProof="0"/>
              <a:t> </a:t>
            </a:r>
            <a:r>
              <a:rPr lang="en-US" noProof="0" err="1"/>
              <a:t>diam</a:t>
            </a:r>
            <a:r>
              <a:rPr lang="en-US" noProof="0"/>
              <a:t> </a:t>
            </a:r>
            <a:r>
              <a:rPr lang="en-US" noProof="0" err="1"/>
              <a:t>nonummy</a:t>
            </a:r>
            <a:r>
              <a:rPr lang="en-US" noProof="0"/>
              <a:t> </a:t>
            </a:r>
            <a:r>
              <a:rPr lang="en-US" noProof="0" err="1"/>
              <a:t>nibh</a:t>
            </a:r>
            <a:r>
              <a:rPr lang="en-US" noProof="0"/>
              <a:t> </a:t>
            </a:r>
            <a:r>
              <a:rPr lang="en-US" noProof="0" err="1"/>
              <a:t>euismod</a:t>
            </a:r>
            <a:r>
              <a:rPr lang="en-US" noProof="0"/>
              <a:t> </a:t>
            </a:r>
            <a:r>
              <a:rPr lang="en-US" noProof="0" err="1"/>
              <a:t>tincidunt</a:t>
            </a:r>
            <a:r>
              <a:rPr lang="en-US" noProof="0"/>
              <a:t> </a:t>
            </a:r>
            <a:r>
              <a:rPr lang="en-US" noProof="0" err="1"/>
              <a:t>ut</a:t>
            </a:r>
            <a:r>
              <a:rPr lang="en-US" noProof="0"/>
              <a:t> </a:t>
            </a:r>
            <a:r>
              <a:rPr lang="en-US" noProof="0" err="1"/>
              <a:t>laoreet</a:t>
            </a:r>
            <a:r>
              <a:rPr lang="en-US" noProof="0"/>
              <a:t> dolore magna </a:t>
            </a:r>
            <a:r>
              <a:rPr lang="en-US" noProof="0" err="1"/>
              <a:t>aliquam</a:t>
            </a:r>
            <a:r>
              <a:rPr lang="en-US" noProof="0"/>
              <a:t> </a:t>
            </a:r>
            <a:r>
              <a:rPr lang="en-US" noProof="0" err="1"/>
              <a:t>erat</a:t>
            </a:r>
            <a:r>
              <a:rPr lang="en-US" noProof="0"/>
              <a:t> </a:t>
            </a:r>
            <a:r>
              <a:rPr lang="en-US" noProof="0" err="1"/>
              <a:t>volutpat</a:t>
            </a:r>
            <a:r>
              <a:rPr lang="en-US" noProof="0"/>
              <a:t>. </a:t>
            </a:r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384694" y="1081826"/>
            <a:ext cx="11338560" cy="402336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buNone/>
              <a:defRPr sz="2000" i="1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Subheads are 20pt Arial Italic sentence case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384694" y="294468"/>
            <a:ext cx="11338560" cy="768263"/>
          </a:xfrm>
          <a:prstGeom prst="rect">
            <a:avLst/>
          </a:prstGeom>
        </p:spPr>
        <p:txBody>
          <a:bodyPr wrap="square" anchor="b" anchorCtr="0">
            <a:noAutofit/>
          </a:bodyPr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/>
              <a:t>Headlines are 28pt Arial Bold sentence case</a:t>
            </a:r>
          </a:p>
        </p:txBody>
      </p:sp>
      <p:sp>
        <p:nvSpPr>
          <p:cNvPr id="60" name="Footer Placeholder 4">
            <a:extLst>
              <a:ext uri="{FF2B5EF4-FFF2-40B4-BE49-F238E27FC236}">
                <a16:creationId xmlns:a16="http://schemas.microsoft.com/office/drawing/2014/main" id="{02449CD6-629F-D647-95E7-AF3F9E15C48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84694" y="6387858"/>
            <a:ext cx="9285484" cy="338087"/>
          </a:xfrm>
          <a:prstGeom prst="rect">
            <a:avLst/>
          </a:prstGeom>
          <a:noFill/>
        </p:spPr>
        <p:txBody>
          <a:bodyPr vert="horz" lIns="91440" tIns="45720" rIns="91440" bIns="45720" rtlCol="0" anchor="b" anchorCtr="0"/>
          <a:lstStyle>
            <a:lvl1pPr algn="l">
              <a:defRPr sz="8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</a:lstStyle>
          <a:p>
            <a:endParaRPr lang="en-US"/>
          </a:p>
        </p:txBody>
      </p:sp>
      <p:sp>
        <p:nvSpPr>
          <p:cNvPr id="33" name="Slide Number Placeholder 5">
            <a:extLst>
              <a:ext uri="{FF2B5EF4-FFF2-40B4-BE49-F238E27FC236}">
                <a16:creationId xmlns:a16="http://schemas.microsoft.com/office/drawing/2014/main" id="{241A4459-0EB4-4688-8572-06BA95F5D702}"/>
              </a:ext>
            </a:extLst>
          </p:cNvPr>
          <p:cNvSpPr txBox="1">
            <a:spLocks/>
          </p:cNvSpPr>
          <p:nvPr/>
        </p:nvSpPr>
        <p:spPr bwMode="white">
          <a:xfrm>
            <a:off x="11723254" y="6544746"/>
            <a:ext cx="3530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rgbClr val="959CA0"/>
                </a:solidFill>
              </a:rPr>
              <a:t>‹#›</a:t>
            </a:fld>
            <a:endParaRPr lang="en-US" sz="800" b="0">
              <a:solidFill>
                <a:srgbClr val="959CA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145130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_Callout Opt2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Content Placeholder 2">
            <a:extLst>
              <a:ext uri="{FF2B5EF4-FFF2-40B4-BE49-F238E27FC236}">
                <a16:creationId xmlns:a16="http://schemas.microsoft.com/office/drawing/2014/main" id="{D88AF363-7A35-104E-9A0A-BC860A4A42C8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384694" y="1702626"/>
            <a:ext cx="7492481" cy="4577845"/>
          </a:xfrm>
          <a:prstGeom prst="rect">
            <a:avLst/>
          </a:prstGeom>
        </p:spPr>
        <p:txBody>
          <a:bodyPr/>
          <a:lstStyle>
            <a:lvl1pPr marL="182880" indent="-18288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6576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4864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3152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8288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Arial 16pt bullet level 1</a:t>
            </a:r>
          </a:p>
          <a:p>
            <a:pPr lvl="1"/>
            <a:r>
              <a:rPr lang="en-US"/>
              <a:t>Arial 16pt bullet level 2</a:t>
            </a:r>
          </a:p>
          <a:p>
            <a:pPr lvl="2"/>
            <a:r>
              <a:rPr lang="en-US"/>
              <a:t>Arial 16pt bullet level 3</a:t>
            </a:r>
          </a:p>
          <a:p>
            <a:pPr lvl="3"/>
            <a:r>
              <a:rPr lang="en-US"/>
              <a:t>Arial 16pt bullet level 4</a:t>
            </a:r>
          </a:p>
          <a:p>
            <a:pPr lvl="4"/>
            <a:r>
              <a:rPr lang="en-US"/>
              <a:t>Arial 16pt bullet level 5</a:t>
            </a:r>
          </a:p>
        </p:txBody>
      </p:sp>
      <p:sp>
        <p:nvSpPr>
          <p:cNvPr id="8" name="Text Placeholder 11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8132063" y="1876358"/>
            <a:ext cx="3764662" cy="4404112"/>
          </a:xfrm>
          <a:prstGeom prst="rect">
            <a:avLst/>
          </a:prstGeom>
        </p:spPr>
        <p:txBody>
          <a:bodyPr wrap="square" anchor="t" anchorCtr="0">
            <a:noAutofit/>
          </a:bodyPr>
          <a:lstStyle>
            <a:lvl1pPr marL="0" marR="0" indent="0" algn="l" defTabSz="1219170" rtl="0" eaLnBrk="0" fontAlgn="base" latinLnBrk="0" hangingPunct="0">
              <a:lnSpc>
                <a:spcPct val="125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2000" b="1" i="0" baseline="0">
                <a:solidFill>
                  <a:schemeClr val="accent1"/>
                </a:solidFill>
                <a:latin typeface="+mj-lt"/>
              </a:defRPr>
            </a:lvl1pPr>
            <a:lvl2pPr marL="230188" indent="-119063">
              <a:lnSpc>
                <a:spcPct val="100000"/>
              </a:lnSpc>
              <a:buFont typeface="Arial"/>
              <a:buChar char="•"/>
              <a:defRPr sz="1200" b="0" i="0" baseline="0">
                <a:solidFill>
                  <a:schemeClr val="accent1"/>
                </a:solidFill>
                <a:latin typeface="+mj-lt"/>
                <a:cs typeface="Arial"/>
              </a:defRPr>
            </a:lvl2pPr>
            <a:lvl3pPr marL="609585" indent="-228594">
              <a:lnSpc>
                <a:spcPct val="100000"/>
              </a:lnSpc>
              <a:buFont typeface="Arial" pitchFamily="34" charset="0"/>
              <a:buChar char="•"/>
              <a:defRPr sz="1200" b="0" i="0">
                <a:solidFill>
                  <a:schemeClr val="bg1"/>
                </a:solidFill>
                <a:latin typeface="+mj-lt"/>
                <a:cs typeface="Arial"/>
              </a:defRPr>
            </a:lvl3pPr>
            <a:lvl4pPr>
              <a:defRPr sz="2133" b="0" i="0">
                <a:latin typeface="Georgia" pitchFamily="18" charset="0"/>
              </a:defRPr>
            </a:lvl4pPr>
          </a:lstStyle>
          <a:p>
            <a:pPr lvl="0"/>
            <a:r>
              <a:rPr lang="en-US" noProof="0"/>
              <a:t>Callouts are 20pt Arial Bold sentence case lorem ipsum dolor sit </a:t>
            </a:r>
            <a:r>
              <a:rPr lang="en-US" noProof="0" err="1"/>
              <a:t>amet</a:t>
            </a:r>
            <a:r>
              <a:rPr lang="en-US" noProof="0"/>
              <a:t>, </a:t>
            </a:r>
            <a:r>
              <a:rPr lang="en-US" noProof="0" err="1"/>
              <a:t>consec</a:t>
            </a:r>
            <a:r>
              <a:rPr lang="en-US" noProof="0"/>
              <a:t> </a:t>
            </a:r>
            <a:r>
              <a:rPr lang="en-US" noProof="0" err="1"/>
              <a:t>tetuer</a:t>
            </a:r>
            <a:r>
              <a:rPr lang="en-US" noProof="0"/>
              <a:t> </a:t>
            </a:r>
            <a:r>
              <a:rPr lang="en-US" noProof="0" err="1"/>
              <a:t>adipiscing</a:t>
            </a:r>
            <a:r>
              <a:rPr lang="en-US" noProof="0"/>
              <a:t> </a:t>
            </a:r>
            <a:r>
              <a:rPr lang="en-US" noProof="0" err="1"/>
              <a:t>elit</a:t>
            </a:r>
            <a:r>
              <a:rPr lang="en-US" noProof="0"/>
              <a:t>, </a:t>
            </a:r>
            <a:r>
              <a:rPr lang="en-US" noProof="0" err="1"/>
              <a:t>sed</a:t>
            </a:r>
            <a:r>
              <a:rPr lang="en-US" noProof="0"/>
              <a:t> </a:t>
            </a:r>
            <a:r>
              <a:rPr lang="en-US" noProof="0" err="1"/>
              <a:t>diam</a:t>
            </a:r>
            <a:r>
              <a:rPr lang="en-US" noProof="0"/>
              <a:t> </a:t>
            </a:r>
            <a:r>
              <a:rPr lang="en-US" noProof="0" err="1"/>
              <a:t>nonummy</a:t>
            </a:r>
            <a:r>
              <a:rPr lang="en-US" noProof="0"/>
              <a:t> </a:t>
            </a:r>
            <a:r>
              <a:rPr lang="en-US" noProof="0" err="1"/>
              <a:t>nibh</a:t>
            </a:r>
            <a:r>
              <a:rPr lang="en-US" noProof="0"/>
              <a:t> </a:t>
            </a:r>
            <a:r>
              <a:rPr lang="en-US" noProof="0" err="1"/>
              <a:t>euismod</a:t>
            </a:r>
            <a:r>
              <a:rPr lang="en-US" noProof="0"/>
              <a:t> </a:t>
            </a:r>
            <a:r>
              <a:rPr lang="en-US" noProof="0" err="1"/>
              <a:t>tincidunt</a:t>
            </a:r>
            <a:r>
              <a:rPr lang="en-US" noProof="0"/>
              <a:t> </a:t>
            </a:r>
            <a:r>
              <a:rPr lang="en-US" noProof="0" err="1"/>
              <a:t>ut</a:t>
            </a:r>
            <a:r>
              <a:rPr lang="en-US" noProof="0"/>
              <a:t> </a:t>
            </a:r>
            <a:r>
              <a:rPr lang="en-US" noProof="0" err="1"/>
              <a:t>laoreet</a:t>
            </a:r>
            <a:r>
              <a:rPr lang="en-US" noProof="0"/>
              <a:t> dolore magna </a:t>
            </a:r>
            <a:r>
              <a:rPr lang="en-US" noProof="0" err="1"/>
              <a:t>aliquam</a:t>
            </a:r>
            <a:r>
              <a:rPr lang="en-US" noProof="0"/>
              <a:t> </a:t>
            </a:r>
            <a:r>
              <a:rPr lang="en-US" noProof="0" err="1"/>
              <a:t>erat</a:t>
            </a:r>
            <a:r>
              <a:rPr lang="en-US" noProof="0"/>
              <a:t> </a:t>
            </a:r>
            <a:r>
              <a:rPr lang="en-US" noProof="0" err="1"/>
              <a:t>volutpat</a:t>
            </a:r>
            <a:r>
              <a:rPr lang="en-US" noProof="0"/>
              <a:t>. </a:t>
            </a:r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384694" y="1081826"/>
            <a:ext cx="11338560" cy="402336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buNone/>
              <a:defRPr sz="2000" i="1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Subheads are 20pt Arial Italic sentence case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384694" y="294468"/>
            <a:ext cx="11338560" cy="768263"/>
          </a:xfrm>
          <a:prstGeom prst="rect">
            <a:avLst/>
          </a:prstGeom>
        </p:spPr>
        <p:txBody>
          <a:bodyPr wrap="square" anchor="b" anchorCtr="0">
            <a:noAutofit/>
          </a:bodyPr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/>
              <a:t>Headlines are 28pt Arial Bold sentence case</a:t>
            </a:r>
          </a:p>
        </p:txBody>
      </p:sp>
      <p:sp>
        <p:nvSpPr>
          <p:cNvPr id="60" name="Footer Placeholder 4">
            <a:extLst>
              <a:ext uri="{FF2B5EF4-FFF2-40B4-BE49-F238E27FC236}">
                <a16:creationId xmlns:a16="http://schemas.microsoft.com/office/drawing/2014/main" id="{02449CD6-629F-D647-95E7-AF3F9E15C48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84694" y="6387858"/>
            <a:ext cx="9285484" cy="338087"/>
          </a:xfrm>
          <a:prstGeom prst="rect">
            <a:avLst/>
          </a:prstGeom>
          <a:noFill/>
        </p:spPr>
        <p:txBody>
          <a:bodyPr vert="horz" lIns="91440" tIns="45720" rIns="91440" bIns="45720" rtlCol="0" anchor="b" anchorCtr="0"/>
          <a:lstStyle>
            <a:lvl1pPr algn="l">
              <a:defRPr sz="8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</a:lstStyle>
          <a:p>
            <a:endParaRPr lang="en-US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2BB5C6CE-599B-D241-B11C-1899212B39F3}"/>
              </a:ext>
            </a:extLst>
          </p:cNvPr>
          <p:cNvCxnSpPr>
            <a:cxnSpLocks/>
          </p:cNvCxnSpPr>
          <p:nvPr/>
        </p:nvCxnSpPr>
        <p:spPr>
          <a:xfrm>
            <a:off x="8132063" y="1784927"/>
            <a:ext cx="4148329" cy="0"/>
          </a:xfrm>
          <a:prstGeom prst="line">
            <a:avLst/>
          </a:prstGeom>
          <a:ln w="25400" cap="rnd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Slide Number Placeholder 5">
            <a:extLst>
              <a:ext uri="{FF2B5EF4-FFF2-40B4-BE49-F238E27FC236}">
                <a16:creationId xmlns:a16="http://schemas.microsoft.com/office/drawing/2014/main" id="{5A70D40F-E06E-4AAC-8094-BC565B24D95E}"/>
              </a:ext>
            </a:extLst>
          </p:cNvPr>
          <p:cNvSpPr txBox="1">
            <a:spLocks/>
          </p:cNvSpPr>
          <p:nvPr/>
        </p:nvSpPr>
        <p:spPr bwMode="white">
          <a:xfrm>
            <a:off x="11723254" y="6544746"/>
            <a:ext cx="3530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rgbClr val="959CA0"/>
                </a:solidFill>
              </a:rPr>
              <a:t>‹#›</a:t>
            </a:fld>
            <a:endParaRPr lang="en-US" sz="800" b="0">
              <a:solidFill>
                <a:srgbClr val="959CA0"/>
              </a:solidFill>
            </a:endParaRP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F1328CB7-3B3E-0342-86D5-64775D744D1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376299" y="6535995"/>
            <a:ext cx="1143000" cy="215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9817877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Content Placeholder 2">
            <a:extLst>
              <a:ext uri="{FF2B5EF4-FFF2-40B4-BE49-F238E27FC236}">
                <a16:creationId xmlns:a16="http://schemas.microsoft.com/office/drawing/2014/main" id="{BB33977D-340C-C244-98B1-44E8B03BE8F1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6191135" y="1702626"/>
            <a:ext cx="5532119" cy="4581144"/>
          </a:xfrm>
          <a:prstGeom prst="rect">
            <a:avLst/>
          </a:prstGeom>
        </p:spPr>
        <p:txBody>
          <a:bodyPr/>
          <a:lstStyle>
            <a:lvl1pPr marL="182880" indent="-18288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6576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4864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3152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8288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Arial 16pt bullet level 1</a:t>
            </a:r>
          </a:p>
          <a:p>
            <a:pPr lvl="1"/>
            <a:r>
              <a:rPr lang="en-US"/>
              <a:t>Arial 16pt bullet level 2</a:t>
            </a:r>
          </a:p>
          <a:p>
            <a:pPr lvl="2"/>
            <a:r>
              <a:rPr lang="en-US"/>
              <a:t>Arial 16pt bullet level 3</a:t>
            </a:r>
          </a:p>
          <a:p>
            <a:pPr lvl="3"/>
            <a:r>
              <a:rPr lang="en-US"/>
              <a:t>Arial 16pt bullet level 4</a:t>
            </a:r>
          </a:p>
          <a:p>
            <a:pPr lvl="4"/>
            <a:r>
              <a:rPr lang="en-US"/>
              <a:t>Arial 16pt bullet level 5</a:t>
            </a:r>
          </a:p>
        </p:txBody>
      </p:sp>
      <p:sp>
        <p:nvSpPr>
          <p:cNvPr id="56" name="Content Placeholder 2">
            <a:extLst>
              <a:ext uri="{FF2B5EF4-FFF2-40B4-BE49-F238E27FC236}">
                <a16:creationId xmlns:a16="http://schemas.microsoft.com/office/drawing/2014/main" id="{92D52BD9-DFA6-1D48-973A-A6C3C874E805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384694" y="1702626"/>
            <a:ext cx="5532119" cy="4577857"/>
          </a:xfrm>
          <a:prstGeom prst="rect">
            <a:avLst/>
          </a:prstGeom>
        </p:spPr>
        <p:txBody>
          <a:bodyPr/>
          <a:lstStyle>
            <a:lvl1pPr marL="182880" indent="-18288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6576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4864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3152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8288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Arial 16pt bullet level 1</a:t>
            </a:r>
          </a:p>
          <a:p>
            <a:pPr lvl="1"/>
            <a:r>
              <a:rPr lang="en-US"/>
              <a:t>Arial 16pt bullet level 2</a:t>
            </a:r>
          </a:p>
          <a:p>
            <a:pPr lvl="2"/>
            <a:r>
              <a:rPr lang="en-US"/>
              <a:t>Arial 16pt bullet level 3</a:t>
            </a:r>
          </a:p>
          <a:p>
            <a:pPr lvl="3"/>
            <a:r>
              <a:rPr lang="en-US"/>
              <a:t>Arial 16pt bullet level 4</a:t>
            </a:r>
          </a:p>
          <a:p>
            <a:pPr lvl="4"/>
            <a:r>
              <a:rPr lang="en-US"/>
              <a:t>Arial 16pt bullet level 5</a:t>
            </a:r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384694" y="1081826"/>
            <a:ext cx="11338560" cy="40233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2000" i="1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Subheads are 20pt Arial Italic sentence case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384694" y="294468"/>
            <a:ext cx="11338560" cy="768263"/>
          </a:xfrm>
          <a:prstGeom prst="rect">
            <a:avLst/>
          </a:prstGeom>
        </p:spPr>
        <p:txBody>
          <a:bodyPr anchor="b" anchorCtr="0"/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/>
              <a:t>Headlines are 28pt Arial Bold sentence case</a:t>
            </a:r>
          </a:p>
        </p:txBody>
      </p:sp>
      <p:sp>
        <p:nvSpPr>
          <p:cNvPr id="59" name="Footer Placeholder 4">
            <a:extLst>
              <a:ext uri="{FF2B5EF4-FFF2-40B4-BE49-F238E27FC236}">
                <a16:creationId xmlns:a16="http://schemas.microsoft.com/office/drawing/2014/main" id="{7F2D66EE-4D77-E145-9576-4E9D03CE46F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84694" y="6387858"/>
            <a:ext cx="9285484" cy="338087"/>
          </a:xfrm>
          <a:prstGeom prst="rect">
            <a:avLst/>
          </a:prstGeom>
          <a:noFill/>
        </p:spPr>
        <p:txBody>
          <a:bodyPr vert="horz" lIns="91440" tIns="45720" rIns="91440" bIns="45720" rtlCol="0" anchor="b" anchorCtr="0"/>
          <a:lstStyle>
            <a:lvl1pPr algn="l">
              <a:defRPr sz="8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</a:lstStyle>
          <a:p>
            <a:endParaRPr lang="en-US"/>
          </a:p>
        </p:txBody>
      </p:sp>
      <p:sp>
        <p:nvSpPr>
          <p:cNvPr id="32" name="Slide Number Placeholder 5">
            <a:extLst>
              <a:ext uri="{FF2B5EF4-FFF2-40B4-BE49-F238E27FC236}">
                <a16:creationId xmlns:a16="http://schemas.microsoft.com/office/drawing/2014/main" id="{2DFA1798-9673-4022-816E-704E37E4DEA4}"/>
              </a:ext>
            </a:extLst>
          </p:cNvPr>
          <p:cNvSpPr txBox="1">
            <a:spLocks/>
          </p:cNvSpPr>
          <p:nvPr/>
        </p:nvSpPr>
        <p:spPr bwMode="white">
          <a:xfrm>
            <a:off x="11723254" y="6544746"/>
            <a:ext cx="3530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rgbClr val="959CA0"/>
                </a:solidFill>
              </a:rPr>
              <a:t>‹#›</a:t>
            </a:fld>
            <a:endParaRPr lang="en-US" sz="800" b="0">
              <a:solidFill>
                <a:srgbClr val="959CA0"/>
              </a:solidFill>
            </a:endParaRP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2420C18B-DFBF-C046-8D9E-FB3BB18EF16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376299" y="6535995"/>
            <a:ext cx="1143000" cy="215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3852199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_NoSubhead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Content Placeholder 2">
            <a:extLst>
              <a:ext uri="{FF2B5EF4-FFF2-40B4-BE49-F238E27FC236}">
                <a16:creationId xmlns:a16="http://schemas.microsoft.com/office/drawing/2014/main" id="{BB33977D-340C-C244-98B1-44E8B03BE8F1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6191135" y="1286358"/>
            <a:ext cx="5532119" cy="4994126"/>
          </a:xfrm>
          <a:prstGeom prst="rect">
            <a:avLst/>
          </a:prstGeom>
        </p:spPr>
        <p:txBody>
          <a:bodyPr/>
          <a:lstStyle>
            <a:lvl1pPr marL="182880" indent="-18288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6576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4864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3152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8288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Arial 16pt bullet level 1</a:t>
            </a:r>
          </a:p>
          <a:p>
            <a:pPr lvl="1"/>
            <a:r>
              <a:rPr lang="en-US"/>
              <a:t>Arial 16pt bullet level 2</a:t>
            </a:r>
          </a:p>
          <a:p>
            <a:pPr lvl="2"/>
            <a:r>
              <a:rPr lang="en-US"/>
              <a:t>Arial 16pt bullet level 3</a:t>
            </a:r>
          </a:p>
          <a:p>
            <a:pPr lvl="3"/>
            <a:r>
              <a:rPr lang="en-US"/>
              <a:t>Arial 16pt bullet level 4</a:t>
            </a:r>
          </a:p>
          <a:p>
            <a:pPr lvl="4"/>
            <a:r>
              <a:rPr lang="en-US"/>
              <a:t>Arial 16pt bullet level 5</a:t>
            </a:r>
          </a:p>
        </p:txBody>
      </p:sp>
      <p:sp>
        <p:nvSpPr>
          <p:cNvPr id="56" name="Content Placeholder 2">
            <a:extLst>
              <a:ext uri="{FF2B5EF4-FFF2-40B4-BE49-F238E27FC236}">
                <a16:creationId xmlns:a16="http://schemas.microsoft.com/office/drawing/2014/main" id="{92D52BD9-DFA6-1D48-973A-A6C3C874E805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384694" y="1286358"/>
            <a:ext cx="5532119" cy="4994125"/>
          </a:xfrm>
          <a:prstGeom prst="rect">
            <a:avLst/>
          </a:prstGeom>
        </p:spPr>
        <p:txBody>
          <a:bodyPr/>
          <a:lstStyle>
            <a:lvl1pPr marL="182880" indent="-18288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6576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4864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3152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8288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Arial 16pt bullet level 1</a:t>
            </a:r>
          </a:p>
          <a:p>
            <a:pPr lvl="1"/>
            <a:r>
              <a:rPr lang="en-US"/>
              <a:t>Arial 16pt bullet level 2</a:t>
            </a:r>
          </a:p>
          <a:p>
            <a:pPr lvl="2"/>
            <a:r>
              <a:rPr lang="en-US"/>
              <a:t>Arial 16pt bullet level 3</a:t>
            </a:r>
          </a:p>
          <a:p>
            <a:pPr lvl="3"/>
            <a:r>
              <a:rPr lang="en-US"/>
              <a:t>Arial 16pt bullet level 4</a:t>
            </a:r>
          </a:p>
          <a:p>
            <a:pPr lvl="4"/>
            <a:r>
              <a:rPr lang="en-US"/>
              <a:t>Arial 16pt bullet level 5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384694" y="294468"/>
            <a:ext cx="11338560" cy="768263"/>
          </a:xfrm>
          <a:prstGeom prst="rect">
            <a:avLst/>
          </a:prstGeom>
        </p:spPr>
        <p:txBody>
          <a:bodyPr anchor="b" anchorCtr="0"/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/>
              <a:t>Headlines are 28pt Arial Bold sentence case</a:t>
            </a:r>
          </a:p>
        </p:txBody>
      </p:sp>
      <p:sp>
        <p:nvSpPr>
          <p:cNvPr id="59" name="Footer Placeholder 4">
            <a:extLst>
              <a:ext uri="{FF2B5EF4-FFF2-40B4-BE49-F238E27FC236}">
                <a16:creationId xmlns:a16="http://schemas.microsoft.com/office/drawing/2014/main" id="{7F2D66EE-4D77-E145-9576-4E9D03CE46F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84694" y="6387858"/>
            <a:ext cx="9285484" cy="338087"/>
          </a:xfrm>
          <a:prstGeom prst="rect">
            <a:avLst/>
          </a:prstGeom>
          <a:noFill/>
        </p:spPr>
        <p:txBody>
          <a:bodyPr vert="horz" lIns="91440" tIns="45720" rIns="91440" bIns="45720" rtlCol="0" anchor="b" anchorCtr="0"/>
          <a:lstStyle>
            <a:lvl1pPr algn="l">
              <a:defRPr sz="8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</a:lstStyle>
          <a:p>
            <a:endParaRPr lang="en-US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F54E4B32-E13F-4B83-8982-BF8073A1DC94}"/>
              </a:ext>
            </a:extLst>
          </p:cNvPr>
          <p:cNvSpPr txBox="1">
            <a:spLocks/>
          </p:cNvSpPr>
          <p:nvPr/>
        </p:nvSpPr>
        <p:spPr bwMode="white">
          <a:xfrm>
            <a:off x="11723254" y="6544746"/>
            <a:ext cx="3530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rgbClr val="959CA0"/>
                </a:solidFill>
              </a:rPr>
              <a:t>‹#›</a:t>
            </a:fld>
            <a:endParaRPr lang="en-US" sz="800" b="0">
              <a:solidFill>
                <a:srgbClr val="959CA0"/>
              </a:solidFill>
            </a:endParaRP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AC061BF7-30ED-394B-918A-D1835A35BE5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376299" y="6535995"/>
            <a:ext cx="1143000" cy="215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4792832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lumn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" name="Content Placeholder 2">
            <a:extLst>
              <a:ext uri="{FF2B5EF4-FFF2-40B4-BE49-F238E27FC236}">
                <a16:creationId xmlns:a16="http://schemas.microsoft.com/office/drawing/2014/main" id="{C2AC1106-6E0D-B341-B75A-C8C2F73E3F26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4694" y="1702626"/>
            <a:ext cx="3621024" cy="4577857"/>
          </a:xfrm>
          <a:prstGeom prst="rect">
            <a:avLst/>
          </a:prstGeom>
        </p:spPr>
        <p:txBody>
          <a:bodyPr/>
          <a:lstStyle>
            <a:lvl1pPr marL="182880" indent="-18288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6576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4864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3152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8288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Arial 16pt bullet level 1</a:t>
            </a:r>
          </a:p>
          <a:p>
            <a:pPr lvl="1"/>
            <a:r>
              <a:rPr lang="en-US"/>
              <a:t>Arial 16pt bullet level 2</a:t>
            </a:r>
          </a:p>
          <a:p>
            <a:pPr lvl="2"/>
            <a:r>
              <a:rPr lang="en-US"/>
              <a:t>Arial 16pt bullet level 3</a:t>
            </a:r>
          </a:p>
          <a:p>
            <a:pPr lvl="3"/>
            <a:r>
              <a:rPr lang="en-US"/>
              <a:t>Arial 16pt bullet level 4</a:t>
            </a:r>
          </a:p>
          <a:p>
            <a:pPr lvl="4"/>
            <a:r>
              <a:rPr lang="en-US"/>
              <a:t>Arial 16pt bullet level 5</a:t>
            </a:r>
          </a:p>
        </p:txBody>
      </p:sp>
      <p:sp>
        <p:nvSpPr>
          <p:cNvPr id="58" name="Content Placeholder 2">
            <a:extLst>
              <a:ext uri="{FF2B5EF4-FFF2-40B4-BE49-F238E27FC236}">
                <a16:creationId xmlns:a16="http://schemas.microsoft.com/office/drawing/2014/main" id="{ABC0DBC1-9787-6A4E-A4B1-E0E8BE5E8F02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8102230" y="1702627"/>
            <a:ext cx="3621024" cy="4577856"/>
          </a:xfrm>
          <a:prstGeom prst="rect">
            <a:avLst/>
          </a:prstGeom>
        </p:spPr>
        <p:txBody>
          <a:bodyPr/>
          <a:lstStyle>
            <a:lvl1pPr marL="182880" indent="-18288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6576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4864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3152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8288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Arial 16pt bullet level 1</a:t>
            </a:r>
          </a:p>
          <a:p>
            <a:pPr lvl="1"/>
            <a:r>
              <a:rPr lang="en-US"/>
              <a:t>Arial 16pt bullet level 2</a:t>
            </a:r>
          </a:p>
          <a:p>
            <a:pPr lvl="2"/>
            <a:r>
              <a:rPr lang="en-US"/>
              <a:t>Arial 16pt bullet level 3</a:t>
            </a:r>
          </a:p>
          <a:p>
            <a:pPr lvl="3"/>
            <a:r>
              <a:rPr lang="en-US"/>
              <a:t>Arial 16pt bullet level 4</a:t>
            </a:r>
          </a:p>
          <a:p>
            <a:pPr lvl="4"/>
            <a:r>
              <a:rPr lang="en-US"/>
              <a:t>Arial 16pt bullet level 5</a:t>
            </a:r>
          </a:p>
        </p:txBody>
      </p:sp>
      <p:sp>
        <p:nvSpPr>
          <p:cNvPr id="59" name="Content Placeholder 2">
            <a:extLst>
              <a:ext uri="{FF2B5EF4-FFF2-40B4-BE49-F238E27FC236}">
                <a16:creationId xmlns:a16="http://schemas.microsoft.com/office/drawing/2014/main" id="{88B0BB6F-D4FA-D54D-A387-A1834DE59B82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4243462" y="1702627"/>
            <a:ext cx="3621024" cy="4577856"/>
          </a:xfrm>
          <a:prstGeom prst="rect">
            <a:avLst/>
          </a:prstGeom>
        </p:spPr>
        <p:txBody>
          <a:bodyPr/>
          <a:lstStyle>
            <a:lvl1pPr marL="182880" indent="-18288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6576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4864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3152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8288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Arial 16pt bullet level 1</a:t>
            </a:r>
          </a:p>
          <a:p>
            <a:pPr lvl="1"/>
            <a:r>
              <a:rPr lang="en-US"/>
              <a:t>Arial 16pt bullet level 2</a:t>
            </a:r>
          </a:p>
          <a:p>
            <a:pPr lvl="2"/>
            <a:r>
              <a:rPr lang="en-US"/>
              <a:t>Arial 16pt bullet level 3</a:t>
            </a:r>
          </a:p>
          <a:p>
            <a:pPr lvl="3"/>
            <a:r>
              <a:rPr lang="en-US"/>
              <a:t>Arial 16pt bullet level 4</a:t>
            </a:r>
          </a:p>
          <a:p>
            <a:pPr lvl="4"/>
            <a:r>
              <a:rPr lang="en-US"/>
              <a:t>Arial 16pt bullet level 5</a:t>
            </a:r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384694" y="1081826"/>
            <a:ext cx="11338560" cy="40233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2000" i="1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Subheads are 20pt Arial Italic sentence case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384694" y="294468"/>
            <a:ext cx="11338560" cy="768263"/>
          </a:xfrm>
          <a:prstGeom prst="rect">
            <a:avLst/>
          </a:prstGeom>
        </p:spPr>
        <p:txBody>
          <a:bodyPr anchor="b" anchorCtr="0"/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/>
              <a:t>Headlines are 28pt Arial Bold sentence case</a:t>
            </a:r>
          </a:p>
        </p:txBody>
      </p:sp>
      <p:sp>
        <p:nvSpPr>
          <p:cNvPr id="61" name="Footer Placeholder 4">
            <a:extLst>
              <a:ext uri="{FF2B5EF4-FFF2-40B4-BE49-F238E27FC236}">
                <a16:creationId xmlns:a16="http://schemas.microsoft.com/office/drawing/2014/main" id="{2B619D02-ECD0-CE4F-A007-98E4EF45BF9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84694" y="6387858"/>
            <a:ext cx="9285484" cy="338087"/>
          </a:xfrm>
          <a:prstGeom prst="rect">
            <a:avLst/>
          </a:prstGeom>
          <a:noFill/>
        </p:spPr>
        <p:txBody>
          <a:bodyPr vert="horz" lIns="91440" tIns="45720" rIns="91440" bIns="45720" rtlCol="0" anchor="b" anchorCtr="0"/>
          <a:lstStyle>
            <a:lvl1pPr algn="l">
              <a:defRPr sz="8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</a:lstStyle>
          <a:p>
            <a:endParaRPr lang="en-US"/>
          </a:p>
        </p:txBody>
      </p:sp>
      <p:sp>
        <p:nvSpPr>
          <p:cNvPr id="33" name="Slide Number Placeholder 5">
            <a:extLst>
              <a:ext uri="{FF2B5EF4-FFF2-40B4-BE49-F238E27FC236}">
                <a16:creationId xmlns:a16="http://schemas.microsoft.com/office/drawing/2014/main" id="{C02E0708-4D86-44F8-B4F9-1E6BEA5F1514}"/>
              </a:ext>
            </a:extLst>
          </p:cNvPr>
          <p:cNvSpPr txBox="1">
            <a:spLocks/>
          </p:cNvSpPr>
          <p:nvPr/>
        </p:nvSpPr>
        <p:spPr bwMode="white">
          <a:xfrm>
            <a:off x="11723254" y="6544746"/>
            <a:ext cx="3530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rgbClr val="959CA0"/>
                </a:solidFill>
              </a:rPr>
              <a:t>‹#›</a:t>
            </a:fld>
            <a:endParaRPr lang="en-US" sz="800" b="0">
              <a:solidFill>
                <a:srgbClr val="959CA0"/>
              </a:solidFill>
            </a:endParaRPr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DF16763F-C469-814B-B3F1-2A463EAEA87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376299" y="6535995"/>
            <a:ext cx="1143000" cy="215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9062467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384694" y="294468"/>
            <a:ext cx="11338560" cy="768263"/>
          </a:xfrm>
          <a:prstGeom prst="rect">
            <a:avLst/>
          </a:prstGeom>
        </p:spPr>
        <p:txBody>
          <a:bodyPr lIns="91440" tIns="45720" rIns="91440" bIns="45720" anchor="b" anchorCtr="0"/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/>
              <a:t>Headlines are 28pt Arial Bold sentence case</a:t>
            </a:r>
          </a:p>
        </p:txBody>
      </p:sp>
      <p:sp>
        <p:nvSpPr>
          <p:cNvPr id="53" name="Footer Placeholder 4">
            <a:extLst>
              <a:ext uri="{FF2B5EF4-FFF2-40B4-BE49-F238E27FC236}">
                <a16:creationId xmlns:a16="http://schemas.microsoft.com/office/drawing/2014/main" id="{B43D20F7-04AA-0E4D-91D5-5DB9ECAF95F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84694" y="6387858"/>
            <a:ext cx="9285484" cy="338087"/>
          </a:xfrm>
          <a:prstGeom prst="rect">
            <a:avLst/>
          </a:prstGeom>
          <a:noFill/>
        </p:spPr>
        <p:txBody>
          <a:bodyPr vert="horz" lIns="91440" tIns="45720" rIns="91440" bIns="45720" rtlCol="0" anchor="b" anchorCtr="0"/>
          <a:lstStyle>
            <a:lvl1pPr algn="l">
              <a:defRPr sz="8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</a:lstStyle>
          <a:p>
            <a:endParaRPr lang="en-US"/>
          </a:p>
        </p:txBody>
      </p:sp>
      <p:sp>
        <p:nvSpPr>
          <p:cNvPr id="29" name="Slide Number Placeholder 5">
            <a:extLst>
              <a:ext uri="{FF2B5EF4-FFF2-40B4-BE49-F238E27FC236}">
                <a16:creationId xmlns:a16="http://schemas.microsoft.com/office/drawing/2014/main" id="{5EA968B8-FA3A-4F62-92E8-E94086C1347B}"/>
              </a:ext>
            </a:extLst>
          </p:cNvPr>
          <p:cNvSpPr txBox="1">
            <a:spLocks/>
          </p:cNvSpPr>
          <p:nvPr/>
        </p:nvSpPr>
        <p:spPr bwMode="white">
          <a:xfrm>
            <a:off x="11723254" y="6544746"/>
            <a:ext cx="3530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rgbClr val="959CA0"/>
                </a:solidFill>
              </a:rPr>
              <a:t>‹#›</a:t>
            </a:fld>
            <a:endParaRPr lang="en-US" sz="800" b="0">
              <a:solidFill>
                <a:srgbClr val="959CA0"/>
              </a:solidFill>
            </a:endParaRP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D12220C1-1EAE-C14B-89F3-9751E5993BA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376299" y="6535995"/>
            <a:ext cx="1143000" cy="215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7818210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Subhead_Only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384694" y="1081826"/>
            <a:ext cx="11338560" cy="40233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2000" i="1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Subheads are 20pt Arial Italic sentence case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>
          <a:xfrm>
            <a:off x="384694" y="294468"/>
            <a:ext cx="11338560" cy="768263"/>
          </a:xfrm>
          <a:prstGeom prst="rect">
            <a:avLst/>
          </a:prstGeom>
        </p:spPr>
        <p:txBody>
          <a:bodyPr anchor="b" anchorCtr="0"/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/>
              <a:t>Headlines are 28pt Arial Bold sentence case</a:t>
            </a:r>
          </a:p>
        </p:txBody>
      </p:sp>
      <p:sp>
        <p:nvSpPr>
          <p:cNvPr id="55" name="Footer Placeholder 4">
            <a:extLst>
              <a:ext uri="{FF2B5EF4-FFF2-40B4-BE49-F238E27FC236}">
                <a16:creationId xmlns:a16="http://schemas.microsoft.com/office/drawing/2014/main" id="{76ED9213-76D9-7A47-BBC6-21289543AEB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84694" y="6387858"/>
            <a:ext cx="9285484" cy="338087"/>
          </a:xfrm>
          <a:prstGeom prst="rect">
            <a:avLst/>
          </a:prstGeom>
          <a:noFill/>
        </p:spPr>
        <p:txBody>
          <a:bodyPr vert="horz" lIns="91440" tIns="45720" rIns="91440" bIns="45720" rtlCol="0" anchor="b" anchorCtr="0"/>
          <a:lstStyle>
            <a:lvl1pPr algn="l">
              <a:defRPr sz="8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</a:lstStyle>
          <a:p>
            <a:endParaRPr lang="en-US"/>
          </a:p>
        </p:txBody>
      </p:sp>
      <p:sp>
        <p:nvSpPr>
          <p:cNvPr id="35" name="Slide Number Placeholder 5">
            <a:extLst>
              <a:ext uri="{FF2B5EF4-FFF2-40B4-BE49-F238E27FC236}">
                <a16:creationId xmlns:a16="http://schemas.microsoft.com/office/drawing/2014/main" id="{1E387831-BA5F-49F6-AA7A-A7D23D1B4F4D}"/>
              </a:ext>
            </a:extLst>
          </p:cNvPr>
          <p:cNvSpPr txBox="1">
            <a:spLocks/>
          </p:cNvSpPr>
          <p:nvPr/>
        </p:nvSpPr>
        <p:spPr bwMode="white">
          <a:xfrm>
            <a:off x="11723254" y="6544746"/>
            <a:ext cx="3530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rgbClr val="959CA0"/>
                </a:solidFill>
              </a:rPr>
              <a:t>‹#›</a:t>
            </a:fld>
            <a:endParaRPr lang="en-US" sz="800" b="0">
              <a:solidFill>
                <a:srgbClr val="959CA0"/>
              </a:solidFill>
            </a:endParaRPr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BCBCE073-12D8-9D4F-9B15-2F9BE4AC354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376299" y="6535995"/>
            <a:ext cx="1143000" cy="215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936932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 2024-02 - IQVI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" name="Text Placeholder 21">
            <a:extLst>
              <a:ext uri="{FF2B5EF4-FFF2-40B4-BE49-F238E27FC236}">
                <a16:creationId xmlns:a16="http://schemas.microsoft.com/office/drawing/2014/main" id="{098CCE30-6B5A-4DFB-97B5-AF5CCDE0C84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13608" y="4175059"/>
            <a:ext cx="6245751" cy="119580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400" b="0" i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Subheads are 24pt Arial Italic sentence case</a:t>
            </a:r>
          </a:p>
        </p:txBody>
      </p:sp>
      <p:sp>
        <p:nvSpPr>
          <p:cNvPr id="70" name="Title 1">
            <a:extLst>
              <a:ext uri="{FF2B5EF4-FFF2-40B4-BE49-F238E27FC236}">
                <a16:creationId xmlns:a16="http://schemas.microsoft.com/office/drawing/2014/main" id="{184C4A24-4E36-49F8-AE34-FEFD57A9817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13608" y="1918354"/>
            <a:ext cx="6245751" cy="2084832"/>
          </a:xfrm>
          <a:prstGeom prst="rect">
            <a:avLst/>
          </a:prstGeom>
        </p:spPr>
        <p:txBody>
          <a:bodyPr anchor="b" anchorCtr="0"/>
          <a:lstStyle>
            <a:lvl1pPr algn="l">
              <a:lnSpc>
                <a:spcPct val="100000"/>
              </a:lnSpc>
              <a:defRPr sz="3600" b="1" i="0" baseline="0">
                <a:solidFill>
                  <a:schemeClr val="accent2"/>
                </a:solidFill>
              </a:defRPr>
            </a:lvl1pPr>
          </a:lstStyle>
          <a:p>
            <a:r>
              <a:rPr lang="en-US"/>
              <a:t>Headline 36pt Arial Bold Title Case and Can be 3 Lines</a:t>
            </a:r>
          </a:p>
        </p:txBody>
      </p:sp>
      <p:sp>
        <p:nvSpPr>
          <p:cNvPr id="71" name="Subtitle 2">
            <a:extLst>
              <a:ext uri="{FF2B5EF4-FFF2-40B4-BE49-F238E27FC236}">
                <a16:creationId xmlns:a16="http://schemas.microsoft.com/office/drawing/2014/main" id="{0E82B801-11C9-4FD7-9D6A-B8DAA212046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13608" y="5518464"/>
            <a:ext cx="6245751" cy="669272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200"/>
              </a:spcBef>
              <a:buNone/>
              <a:defRPr sz="1600" baseline="0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Author First Last Name, Title 16pt Arial</a:t>
            </a:r>
          </a:p>
        </p:txBody>
      </p:sp>
      <p:pic>
        <p:nvPicPr>
          <p:cNvPr id="15" name="Graphic 14">
            <a:extLst>
              <a:ext uri="{FF2B5EF4-FFF2-40B4-BE49-F238E27FC236}">
                <a16:creationId xmlns:a16="http://schemas.microsoft.com/office/drawing/2014/main" id="{B6E9086A-E529-2788-B0E4-EFA79D0E2F3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31520" y="812800"/>
            <a:ext cx="2247900" cy="406400"/>
          </a:xfrm>
          <a:prstGeom prst="rect">
            <a:avLst/>
          </a:prstGeom>
        </p:spPr>
      </p:pic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A1F4E818-2A83-7489-FE1B-DC8FFF233719}"/>
              </a:ext>
            </a:extLst>
          </p:cNvPr>
          <p:cNvSpPr/>
          <p:nvPr userDrawn="1"/>
        </p:nvSpPr>
        <p:spPr>
          <a:xfrm rot="900000">
            <a:off x="7116823" y="-191976"/>
            <a:ext cx="1244450" cy="1815506"/>
          </a:xfrm>
          <a:custGeom>
            <a:avLst/>
            <a:gdLst>
              <a:gd name="connsiteX0" fmla="*/ 0 w 1244450"/>
              <a:gd name="connsiteY0" fmla="*/ 333449 h 1815506"/>
              <a:gd name="connsiteX1" fmla="*/ 1244450 w 1244450"/>
              <a:gd name="connsiteY1" fmla="*/ 0 h 1815506"/>
              <a:gd name="connsiteX2" fmla="*/ 1244450 w 1244450"/>
              <a:gd name="connsiteY2" fmla="*/ 1193281 h 1815506"/>
              <a:gd name="connsiteX3" fmla="*/ 622225 w 1244450"/>
              <a:gd name="connsiteY3" fmla="*/ 1815506 h 1815506"/>
              <a:gd name="connsiteX4" fmla="*/ 0 w 1244450"/>
              <a:gd name="connsiteY4" fmla="*/ 1193281 h 18155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44450" h="1815506">
                <a:moveTo>
                  <a:pt x="0" y="333449"/>
                </a:moveTo>
                <a:lnTo>
                  <a:pt x="1244450" y="0"/>
                </a:lnTo>
                <a:lnTo>
                  <a:pt x="1244450" y="1193281"/>
                </a:lnTo>
                <a:cubicBezTo>
                  <a:pt x="1244450" y="1536926"/>
                  <a:pt x="965870" y="1815506"/>
                  <a:pt x="622225" y="1815506"/>
                </a:cubicBezTo>
                <a:cubicBezTo>
                  <a:pt x="278580" y="1815506"/>
                  <a:pt x="0" y="1536926"/>
                  <a:pt x="0" y="1193281"/>
                </a:cubicBezTo>
                <a:close/>
              </a:path>
            </a:pathLst>
          </a:custGeom>
          <a:gradFill>
            <a:gsLst>
              <a:gs pos="20000">
                <a:srgbClr val="140B42"/>
              </a:gs>
              <a:gs pos="80000">
                <a:schemeClr val="accent2"/>
              </a:gs>
            </a:gsLst>
            <a:lin ang="5400000" scaled="1"/>
          </a:gradFill>
          <a:ln w="762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algn="l"/>
            <a:endParaRPr lang="en-US" sz="1600" err="1"/>
          </a:p>
        </p:txBody>
      </p:sp>
      <p:sp>
        <p:nvSpPr>
          <p:cNvPr id="17" name="Freeform: Shape 16">
            <a:extLst>
              <a:ext uri="{FF2B5EF4-FFF2-40B4-BE49-F238E27FC236}">
                <a16:creationId xmlns:a16="http://schemas.microsoft.com/office/drawing/2014/main" id="{4213A8D0-50D2-BE07-C33B-5280FE4232B0}"/>
              </a:ext>
            </a:extLst>
          </p:cNvPr>
          <p:cNvSpPr/>
          <p:nvPr userDrawn="1"/>
        </p:nvSpPr>
        <p:spPr>
          <a:xfrm rot="900000">
            <a:off x="11384415" y="4422162"/>
            <a:ext cx="1089824" cy="2621535"/>
          </a:xfrm>
          <a:custGeom>
            <a:avLst/>
            <a:gdLst>
              <a:gd name="connsiteX0" fmla="*/ 465632 w 1089824"/>
              <a:gd name="connsiteY0" fmla="*/ 0 h 2621535"/>
              <a:gd name="connsiteX1" fmla="*/ 1089824 w 1089824"/>
              <a:gd name="connsiteY1" fmla="*/ 2329517 h 2621535"/>
              <a:gd name="connsiteX2" fmla="*/ 0 w 1089824"/>
              <a:gd name="connsiteY2" fmla="*/ 2621535 h 2621535"/>
              <a:gd name="connsiteX3" fmla="*/ 0 w 1089824"/>
              <a:gd name="connsiteY3" fmla="*/ 596865 h 2621535"/>
              <a:gd name="connsiteX4" fmla="*/ 377494 w 1089824"/>
              <a:gd name="connsiteY4" fmla="*/ 27359 h 26215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89824" h="2621535">
                <a:moveTo>
                  <a:pt x="465632" y="0"/>
                </a:moveTo>
                <a:lnTo>
                  <a:pt x="1089824" y="2329517"/>
                </a:lnTo>
                <a:lnTo>
                  <a:pt x="0" y="2621535"/>
                </a:lnTo>
                <a:lnTo>
                  <a:pt x="0" y="596865"/>
                </a:lnTo>
                <a:cubicBezTo>
                  <a:pt x="0" y="340849"/>
                  <a:pt x="155656" y="121189"/>
                  <a:pt x="377494" y="27359"/>
                </a:cubicBezTo>
                <a:close/>
              </a:path>
            </a:pathLst>
          </a:custGeom>
          <a:gradFill flip="none" rotWithShape="1">
            <a:gsLst>
              <a:gs pos="20000">
                <a:schemeClr val="accent2"/>
              </a:gs>
              <a:gs pos="80000">
                <a:srgbClr val="140B42"/>
              </a:gs>
            </a:gsLst>
            <a:lin ang="5400000" scaled="1"/>
            <a:tileRect/>
          </a:gradFill>
          <a:ln w="762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lvl="0"/>
            <a:endParaRPr lang="en-US" sz="1600" err="1"/>
          </a:p>
        </p:txBody>
      </p:sp>
      <p:sp>
        <p:nvSpPr>
          <p:cNvPr id="5" name="Freeform: Shape 4">
            <a:extLst>
              <a:ext uri="{FF2B5EF4-FFF2-40B4-BE49-F238E27FC236}">
                <a16:creationId xmlns:a16="http://schemas.microsoft.com/office/drawing/2014/main" id="{9CA7F2F6-48FC-1B44-89F9-84682C0ED811}"/>
              </a:ext>
            </a:extLst>
          </p:cNvPr>
          <p:cNvSpPr/>
          <p:nvPr userDrawn="1"/>
        </p:nvSpPr>
        <p:spPr>
          <a:xfrm rot="900000">
            <a:off x="7841778" y="-500135"/>
            <a:ext cx="3914186" cy="7999940"/>
          </a:xfrm>
          <a:custGeom>
            <a:avLst/>
            <a:gdLst>
              <a:gd name="connsiteX0" fmla="*/ 3362855 w 3914186"/>
              <a:gd name="connsiteY0" fmla="*/ 0 h 7999940"/>
              <a:gd name="connsiteX1" fmla="*/ 3914186 w 3914186"/>
              <a:gd name="connsiteY1" fmla="*/ 2057597 h 7999940"/>
              <a:gd name="connsiteX2" fmla="*/ 3914185 w 3914186"/>
              <a:gd name="connsiteY2" fmla="*/ 6952194 h 7999940"/>
              <a:gd name="connsiteX3" fmla="*/ 3947 w 3914186"/>
              <a:gd name="connsiteY3" fmla="*/ 7999940 h 7999940"/>
              <a:gd name="connsiteX4" fmla="*/ 0 w 3914186"/>
              <a:gd name="connsiteY4" fmla="*/ 7921778 h 7999940"/>
              <a:gd name="connsiteX5" fmla="*/ 1 w 3914186"/>
              <a:gd name="connsiteY5" fmla="*/ 901074 h 79999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914186" h="7999940">
                <a:moveTo>
                  <a:pt x="3362855" y="0"/>
                </a:moveTo>
                <a:lnTo>
                  <a:pt x="3914186" y="2057597"/>
                </a:lnTo>
                <a:lnTo>
                  <a:pt x="3914185" y="6952194"/>
                </a:lnTo>
                <a:lnTo>
                  <a:pt x="3947" y="7999940"/>
                </a:lnTo>
                <a:lnTo>
                  <a:pt x="0" y="7921778"/>
                </a:lnTo>
                <a:lnTo>
                  <a:pt x="1" y="901074"/>
                </a:lnTo>
                <a:close/>
              </a:path>
            </a:pathLst>
          </a:custGeom>
          <a:solidFill>
            <a:schemeClr val="accent2"/>
          </a:solidFill>
          <a:ln w="762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algn="l"/>
            <a:endParaRPr lang="en-US" sz="1600" err="1"/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9D950733-D386-D461-6995-42A6097FF11E}"/>
              </a:ext>
            </a:extLst>
          </p:cNvPr>
          <p:cNvSpPr txBox="1"/>
          <p:nvPr userDrawn="1"/>
        </p:nvSpPr>
        <p:spPr bwMode="black">
          <a:xfrm>
            <a:off x="613608" y="6367152"/>
            <a:ext cx="4495800" cy="338554"/>
          </a:xfrm>
          <a:prstGeom prst="rect">
            <a:avLst/>
          </a:prstGeom>
          <a:ln>
            <a:noFill/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chemeClr val="bg1">
                    <a:lumMod val="50000"/>
                  </a:schemeClr>
                </a:solidFill>
                <a:ea typeface="Arial" charset="0"/>
                <a:cs typeface="Arial" charset="0"/>
              </a:rPr>
              <a:t>© 2025. All rights reserved. IQVIA</a:t>
            </a:r>
            <a:r>
              <a:rPr lang="en-US" sz="800" baseline="30000">
                <a:solidFill>
                  <a:schemeClr val="bg1">
                    <a:lumMod val="50000"/>
                  </a:schemeClr>
                </a:solidFill>
                <a:ea typeface="Arial" charset="0"/>
                <a:cs typeface="Arial" charset="0"/>
              </a:rPr>
              <a:t>®</a:t>
            </a:r>
            <a:r>
              <a:rPr lang="en-US" sz="800">
                <a:solidFill>
                  <a:schemeClr val="bg1">
                    <a:lumMod val="50000"/>
                  </a:schemeClr>
                </a:solidFill>
                <a:ea typeface="Arial" charset="0"/>
                <a:cs typeface="Arial" charset="0"/>
              </a:rPr>
              <a:t> is a registered trademark of IQVIA Inc. in the United States, the European Union, and various other countries. </a:t>
            </a:r>
          </a:p>
        </p:txBody>
      </p:sp>
    </p:spTree>
    <p:extLst>
      <p:ext uri="{BB962C8B-B14F-4D97-AF65-F5344CB8AC3E}">
        <p14:creationId xmlns:p14="http://schemas.microsoft.com/office/powerpoint/2010/main" val="224401948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ogo Only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" name="Footer Placeholder 4">
            <a:extLst>
              <a:ext uri="{FF2B5EF4-FFF2-40B4-BE49-F238E27FC236}">
                <a16:creationId xmlns:a16="http://schemas.microsoft.com/office/drawing/2014/main" id="{EBE92459-5CCD-6042-9D0E-BAC9DA03F84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84694" y="6387858"/>
            <a:ext cx="9285484" cy="338087"/>
          </a:xfrm>
          <a:prstGeom prst="rect">
            <a:avLst/>
          </a:prstGeom>
          <a:noFill/>
        </p:spPr>
        <p:txBody>
          <a:bodyPr vert="horz" lIns="91440" tIns="45720" rIns="91440" bIns="45720" rtlCol="0" anchor="b" anchorCtr="0"/>
          <a:lstStyle>
            <a:lvl1pPr algn="l">
              <a:defRPr sz="8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</a:lstStyle>
          <a:p>
            <a:endParaRPr lang="en-US"/>
          </a:p>
        </p:txBody>
      </p:sp>
      <p:sp>
        <p:nvSpPr>
          <p:cNvPr id="31" name="Slide Number Placeholder 5">
            <a:extLst>
              <a:ext uri="{FF2B5EF4-FFF2-40B4-BE49-F238E27FC236}">
                <a16:creationId xmlns:a16="http://schemas.microsoft.com/office/drawing/2014/main" id="{75C2CC54-E1EC-4DF9-A3B0-2009DB97279A}"/>
              </a:ext>
            </a:extLst>
          </p:cNvPr>
          <p:cNvSpPr txBox="1">
            <a:spLocks/>
          </p:cNvSpPr>
          <p:nvPr/>
        </p:nvSpPr>
        <p:spPr bwMode="white">
          <a:xfrm>
            <a:off x="11723254" y="6544746"/>
            <a:ext cx="3530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rgbClr val="959CA0"/>
                </a:solidFill>
              </a:rPr>
              <a:t>‹#›</a:t>
            </a:fld>
            <a:endParaRPr lang="en-US" sz="800" b="0">
              <a:solidFill>
                <a:srgbClr val="959CA0"/>
              </a:solidFill>
            </a:endParaRP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A8B63251-79DB-3544-890F-9DDA614A5D8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376299" y="6535995"/>
            <a:ext cx="1143000" cy="215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5636852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2DEFF783-1996-4984-99EE-7B1AC1AE1A34}"/>
              </a:ext>
            </a:extLst>
          </p:cNvPr>
          <p:cNvSpPr txBox="1">
            <a:spLocks/>
          </p:cNvSpPr>
          <p:nvPr/>
        </p:nvSpPr>
        <p:spPr bwMode="white">
          <a:xfrm>
            <a:off x="11723254" y="6544746"/>
            <a:ext cx="3530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rgbClr val="959CA0"/>
                </a:solidFill>
              </a:rPr>
              <a:t>‹#›</a:t>
            </a:fld>
            <a:endParaRPr lang="en-US" sz="800" b="0">
              <a:solidFill>
                <a:srgbClr val="959CA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2316910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able of Contents - IQVI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" name="Rectangle 50">
            <a:extLst>
              <a:ext uri="{FF2B5EF4-FFF2-40B4-BE49-F238E27FC236}">
                <a16:creationId xmlns:a16="http://schemas.microsoft.com/office/drawing/2014/main" id="{38658025-8660-B74C-8ED5-6D1A405A1A70}"/>
              </a:ext>
            </a:extLst>
          </p:cNvPr>
          <p:cNvSpPr/>
          <p:nvPr/>
        </p:nvSpPr>
        <p:spPr bwMode="gray">
          <a:xfrm>
            <a:off x="353568" y="0"/>
            <a:ext cx="11484864" cy="6858000"/>
          </a:xfrm>
          <a:prstGeom prst="rect">
            <a:avLst/>
          </a:prstGeom>
          <a:solidFill>
            <a:srgbClr val="F4F4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/>
          </a:p>
        </p:txBody>
      </p:sp>
      <p:sp>
        <p:nvSpPr>
          <p:cNvPr id="54" name="Content Placeholder 2">
            <a:extLst>
              <a:ext uri="{FF2B5EF4-FFF2-40B4-BE49-F238E27FC236}">
                <a16:creationId xmlns:a16="http://schemas.microsoft.com/office/drawing/2014/main" id="{FC9B35E8-F292-2B42-952E-06F2F248C602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962418" y="1561892"/>
            <a:ext cx="9163983" cy="4712626"/>
          </a:xfrm>
          <a:prstGeom prst="rect">
            <a:avLst/>
          </a:prstGeom>
        </p:spPr>
        <p:txBody>
          <a:bodyPr/>
          <a:lstStyle>
            <a:lvl1pPr marL="182880" indent="-182880">
              <a:lnSpc>
                <a:spcPct val="100000"/>
              </a:lnSpc>
              <a:spcBef>
                <a:spcPts val="2000"/>
              </a:spcBef>
              <a:buClr>
                <a:schemeClr val="accent1"/>
              </a:buClr>
              <a:buFont typeface="System Font Regular"/>
              <a:buChar char="+"/>
              <a:defRPr sz="1800">
                <a:solidFill>
                  <a:schemeClr val="tx1"/>
                </a:solidFill>
              </a:defRPr>
            </a:lvl1pPr>
            <a:lvl2pPr marL="365760" indent="-182880">
              <a:lnSpc>
                <a:spcPct val="100000"/>
              </a:lnSpc>
              <a:spcBef>
                <a:spcPts val="8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</a:defRPr>
            </a:lvl2pPr>
            <a:lvl3pPr marL="548640" indent="-182880">
              <a:lnSpc>
                <a:spcPct val="100000"/>
              </a:lnSpc>
              <a:spcBef>
                <a:spcPts val="800"/>
              </a:spcBef>
              <a:buClrTx/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31520" indent="-182880">
              <a:lnSpc>
                <a:spcPct val="100000"/>
              </a:lnSpc>
              <a:spcBef>
                <a:spcPts val="800"/>
              </a:spcBef>
              <a:buClrTx/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82880">
              <a:lnSpc>
                <a:spcPct val="100000"/>
              </a:lnSpc>
              <a:spcBef>
                <a:spcPts val="800"/>
              </a:spcBef>
              <a:buClrTx/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Arial 18pt bullet level 1</a:t>
            </a:r>
          </a:p>
          <a:p>
            <a:pPr lvl="1"/>
            <a:r>
              <a:rPr lang="en-US"/>
              <a:t>Arial 16pt bullet level 2</a:t>
            </a:r>
          </a:p>
          <a:p>
            <a:pPr lvl="2"/>
            <a:r>
              <a:rPr lang="en-US"/>
              <a:t>Arial 16pt bullet level 3</a:t>
            </a:r>
          </a:p>
          <a:p>
            <a:pPr lvl="3"/>
            <a:r>
              <a:rPr lang="en-US"/>
              <a:t>Arial 16pt bullet level 4</a:t>
            </a:r>
          </a:p>
          <a:p>
            <a:pPr lvl="4"/>
            <a:r>
              <a:rPr lang="en-US"/>
              <a:t>Arial 16pt bullet level 5</a:t>
            </a:r>
          </a:p>
          <a:p>
            <a:pPr lvl="0"/>
            <a:r>
              <a:rPr lang="en-US"/>
              <a:t>Arial 18pt bullet level 1</a:t>
            </a:r>
          </a:p>
          <a:p>
            <a:pPr lvl="1"/>
            <a:r>
              <a:rPr lang="en-US"/>
              <a:t>Arial 16pt bullet level 2</a:t>
            </a:r>
          </a:p>
          <a:p>
            <a:pPr lvl="2"/>
            <a:r>
              <a:rPr lang="en-US"/>
              <a:t>Arial 16pt bullet level 3</a:t>
            </a:r>
          </a:p>
          <a:p>
            <a:pPr lvl="3"/>
            <a:r>
              <a:rPr lang="en-US"/>
              <a:t>Arial 16pt bullet level 4</a:t>
            </a:r>
          </a:p>
          <a:p>
            <a:pPr lvl="4"/>
            <a:r>
              <a:rPr lang="en-US"/>
              <a:t>Arial 16pt bullet level 5</a:t>
            </a:r>
          </a:p>
        </p:txBody>
      </p:sp>
      <p:sp>
        <p:nvSpPr>
          <p:cNvPr id="57" name="Title 3">
            <a:extLst>
              <a:ext uri="{FF2B5EF4-FFF2-40B4-BE49-F238E27FC236}">
                <a16:creationId xmlns:a16="http://schemas.microsoft.com/office/drawing/2014/main" id="{7A9E8FF8-48AE-4B47-8CBF-17FB49CF53F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962418" y="823398"/>
            <a:ext cx="9163983" cy="594360"/>
          </a:xfrm>
          <a:prstGeom prst="rect">
            <a:avLst/>
          </a:prstGeom>
        </p:spPr>
        <p:txBody>
          <a:bodyPr anchor="ctr"/>
          <a:lstStyle>
            <a:lvl1pPr>
              <a:defRPr sz="3200" b="1">
                <a:solidFill>
                  <a:schemeClr val="accent1"/>
                </a:solidFill>
              </a:defRPr>
            </a:lvl1pPr>
          </a:lstStyle>
          <a:p>
            <a:r>
              <a:rPr lang="en-US"/>
              <a:t>Table of contents or Agenda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6A1CD0AD-A634-4EA6-AE67-C63B52CE7B06}"/>
              </a:ext>
            </a:extLst>
          </p:cNvPr>
          <p:cNvGrpSpPr/>
          <p:nvPr/>
        </p:nvGrpSpPr>
        <p:grpSpPr>
          <a:xfrm>
            <a:off x="-1" y="260324"/>
            <a:ext cx="1250388" cy="1575820"/>
            <a:chOff x="-1" y="260324"/>
            <a:chExt cx="1250388" cy="1575820"/>
          </a:xfrm>
          <a:solidFill>
            <a:schemeClr val="accent1"/>
          </a:solidFill>
        </p:grpSpPr>
        <p:grpSp>
          <p:nvGrpSpPr>
            <p:cNvPr id="78" name="Group 77">
              <a:extLst>
                <a:ext uri="{FF2B5EF4-FFF2-40B4-BE49-F238E27FC236}">
                  <a16:creationId xmlns:a16="http://schemas.microsoft.com/office/drawing/2014/main" id="{B2E777F5-EFF3-457A-8259-AC8F3FAFC249}"/>
                </a:ext>
              </a:extLst>
            </p:cNvPr>
            <p:cNvGrpSpPr/>
            <p:nvPr/>
          </p:nvGrpSpPr>
          <p:grpSpPr>
            <a:xfrm>
              <a:off x="686264" y="1652391"/>
              <a:ext cx="564123" cy="183753"/>
              <a:chOff x="876236" y="5534957"/>
              <a:chExt cx="1674271" cy="545364"/>
            </a:xfrm>
            <a:grpFill/>
          </p:grpSpPr>
          <p:sp>
            <p:nvSpPr>
              <p:cNvPr id="96" name="Rectangle 95">
                <a:extLst>
                  <a:ext uri="{FF2B5EF4-FFF2-40B4-BE49-F238E27FC236}">
                    <a16:creationId xmlns:a16="http://schemas.microsoft.com/office/drawing/2014/main" id="{B117E7E6-D510-412B-8045-21F2179CDBFD}"/>
                  </a:ext>
                </a:extLst>
              </p:cNvPr>
              <p:cNvSpPr/>
              <p:nvPr/>
            </p:nvSpPr>
            <p:spPr>
              <a:xfrm>
                <a:off x="1154393" y="5534957"/>
                <a:ext cx="1117582" cy="545364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  <p:sp>
            <p:nvSpPr>
              <p:cNvPr id="97" name="Oval 96">
                <a:extLst>
                  <a:ext uri="{FF2B5EF4-FFF2-40B4-BE49-F238E27FC236}">
                    <a16:creationId xmlns:a16="http://schemas.microsoft.com/office/drawing/2014/main" id="{79A544B5-B37E-40F9-A3D1-E4A00DF6E89F}"/>
                  </a:ext>
                </a:extLst>
              </p:cNvPr>
              <p:cNvSpPr/>
              <p:nvPr/>
            </p:nvSpPr>
            <p:spPr>
              <a:xfrm>
                <a:off x="2005143" y="5534957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  <p:sp>
            <p:nvSpPr>
              <p:cNvPr id="98" name="Oval 97">
                <a:extLst>
                  <a:ext uri="{FF2B5EF4-FFF2-40B4-BE49-F238E27FC236}">
                    <a16:creationId xmlns:a16="http://schemas.microsoft.com/office/drawing/2014/main" id="{EF1038BB-A4E9-41A9-B2F4-23E7F5CD6621}"/>
                  </a:ext>
                </a:extLst>
              </p:cNvPr>
              <p:cNvSpPr/>
              <p:nvPr/>
            </p:nvSpPr>
            <p:spPr>
              <a:xfrm>
                <a:off x="876236" y="5534957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</p:grpSp>
        <p:grpSp>
          <p:nvGrpSpPr>
            <p:cNvPr id="79" name="Group 78">
              <a:extLst>
                <a:ext uri="{FF2B5EF4-FFF2-40B4-BE49-F238E27FC236}">
                  <a16:creationId xmlns:a16="http://schemas.microsoft.com/office/drawing/2014/main" id="{029BE464-4CCF-4D58-8077-7337778D29CA}"/>
                </a:ext>
              </a:extLst>
            </p:cNvPr>
            <p:cNvGrpSpPr/>
            <p:nvPr/>
          </p:nvGrpSpPr>
          <p:grpSpPr>
            <a:xfrm>
              <a:off x="864211" y="1304375"/>
              <a:ext cx="386176" cy="183753"/>
              <a:chOff x="1404367" y="4502072"/>
              <a:chExt cx="1146140" cy="545364"/>
            </a:xfrm>
            <a:grpFill/>
          </p:grpSpPr>
          <p:sp>
            <p:nvSpPr>
              <p:cNvPr id="93" name="Rectangle 92">
                <a:extLst>
                  <a:ext uri="{FF2B5EF4-FFF2-40B4-BE49-F238E27FC236}">
                    <a16:creationId xmlns:a16="http://schemas.microsoft.com/office/drawing/2014/main" id="{D0DC8CC7-4C81-439E-B602-330616AC3184}"/>
                  </a:ext>
                </a:extLst>
              </p:cNvPr>
              <p:cNvSpPr/>
              <p:nvPr/>
            </p:nvSpPr>
            <p:spPr>
              <a:xfrm>
                <a:off x="1682197" y="4502072"/>
                <a:ext cx="589775" cy="545364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  <p:sp>
            <p:nvSpPr>
              <p:cNvPr id="94" name="Oval 93">
                <a:extLst>
                  <a:ext uri="{FF2B5EF4-FFF2-40B4-BE49-F238E27FC236}">
                    <a16:creationId xmlns:a16="http://schemas.microsoft.com/office/drawing/2014/main" id="{ECB59EFB-5B99-4637-9821-186308CA811D}"/>
                  </a:ext>
                </a:extLst>
              </p:cNvPr>
              <p:cNvSpPr/>
              <p:nvPr/>
            </p:nvSpPr>
            <p:spPr>
              <a:xfrm>
                <a:off x="2005143" y="4502072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  <p:sp>
            <p:nvSpPr>
              <p:cNvPr id="95" name="Oval 94">
                <a:extLst>
                  <a:ext uri="{FF2B5EF4-FFF2-40B4-BE49-F238E27FC236}">
                    <a16:creationId xmlns:a16="http://schemas.microsoft.com/office/drawing/2014/main" id="{7060CC02-8F6C-45AF-9DBE-33B4EAA77FAE}"/>
                  </a:ext>
                </a:extLst>
              </p:cNvPr>
              <p:cNvSpPr/>
              <p:nvPr/>
            </p:nvSpPr>
            <p:spPr>
              <a:xfrm>
                <a:off x="1404367" y="4502072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</p:grpSp>
        <p:grpSp>
          <p:nvGrpSpPr>
            <p:cNvPr id="80" name="Group 79">
              <a:extLst>
                <a:ext uri="{FF2B5EF4-FFF2-40B4-BE49-F238E27FC236}">
                  <a16:creationId xmlns:a16="http://schemas.microsoft.com/office/drawing/2014/main" id="{EDBE8CF3-142D-438A-880B-7423D1E442C5}"/>
                </a:ext>
              </a:extLst>
            </p:cNvPr>
            <p:cNvGrpSpPr/>
            <p:nvPr/>
          </p:nvGrpSpPr>
          <p:grpSpPr>
            <a:xfrm>
              <a:off x="917753" y="956358"/>
              <a:ext cx="332634" cy="183753"/>
              <a:chOff x="1560101" y="3469185"/>
              <a:chExt cx="987231" cy="545364"/>
            </a:xfrm>
            <a:grpFill/>
          </p:grpSpPr>
          <p:sp>
            <p:nvSpPr>
              <p:cNvPr id="90" name="Oval 89">
                <a:extLst>
                  <a:ext uri="{FF2B5EF4-FFF2-40B4-BE49-F238E27FC236}">
                    <a16:creationId xmlns:a16="http://schemas.microsoft.com/office/drawing/2014/main" id="{61D9E7AA-5FDE-45C3-B7AC-F8C06B142069}"/>
                  </a:ext>
                </a:extLst>
              </p:cNvPr>
              <p:cNvSpPr/>
              <p:nvPr/>
            </p:nvSpPr>
            <p:spPr>
              <a:xfrm>
                <a:off x="1560101" y="3469185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  <p:sp>
            <p:nvSpPr>
              <p:cNvPr id="91" name="Rectangle 90">
                <a:extLst>
                  <a:ext uri="{FF2B5EF4-FFF2-40B4-BE49-F238E27FC236}">
                    <a16:creationId xmlns:a16="http://schemas.microsoft.com/office/drawing/2014/main" id="{13502E5E-1590-4501-977E-A406C72F35D0}"/>
                  </a:ext>
                </a:extLst>
              </p:cNvPr>
              <p:cNvSpPr/>
              <p:nvPr/>
            </p:nvSpPr>
            <p:spPr>
              <a:xfrm>
                <a:off x="1825936" y="3469185"/>
                <a:ext cx="446037" cy="545364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  <p:sp>
            <p:nvSpPr>
              <p:cNvPr id="92" name="Oval 91">
                <a:extLst>
                  <a:ext uri="{FF2B5EF4-FFF2-40B4-BE49-F238E27FC236}">
                    <a16:creationId xmlns:a16="http://schemas.microsoft.com/office/drawing/2014/main" id="{9849375F-4430-4BAF-8CD8-BABE2895B0CD}"/>
                  </a:ext>
                </a:extLst>
              </p:cNvPr>
              <p:cNvSpPr/>
              <p:nvPr/>
            </p:nvSpPr>
            <p:spPr>
              <a:xfrm>
                <a:off x="2001968" y="3469185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</p:grpSp>
        <p:grpSp>
          <p:nvGrpSpPr>
            <p:cNvPr id="81" name="Group 80">
              <a:extLst>
                <a:ext uri="{FF2B5EF4-FFF2-40B4-BE49-F238E27FC236}">
                  <a16:creationId xmlns:a16="http://schemas.microsoft.com/office/drawing/2014/main" id="{7C368109-07EC-4B00-B53E-7AA055EEDBEE}"/>
                </a:ext>
              </a:extLst>
            </p:cNvPr>
            <p:cNvGrpSpPr/>
            <p:nvPr/>
          </p:nvGrpSpPr>
          <p:grpSpPr>
            <a:xfrm>
              <a:off x="868078" y="608341"/>
              <a:ext cx="382309" cy="183753"/>
              <a:chOff x="1415887" y="2436300"/>
              <a:chExt cx="1134663" cy="545364"/>
            </a:xfrm>
            <a:grpFill/>
          </p:grpSpPr>
          <p:sp>
            <p:nvSpPr>
              <p:cNvPr id="87" name="Oval 86">
                <a:extLst>
                  <a:ext uri="{FF2B5EF4-FFF2-40B4-BE49-F238E27FC236}">
                    <a16:creationId xmlns:a16="http://schemas.microsoft.com/office/drawing/2014/main" id="{458E032A-AC8B-4235-848E-250F4190B814}"/>
                  </a:ext>
                </a:extLst>
              </p:cNvPr>
              <p:cNvSpPr/>
              <p:nvPr/>
            </p:nvSpPr>
            <p:spPr>
              <a:xfrm>
                <a:off x="2005186" y="2436300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  <p:sp>
            <p:nvSpPr>
              <p:cNvPr id="88" name="Oval 87">
                <a:extLst>
                  <a:ext uri="{FF2B5EF4-FFF2-40B4-BE49-F238E27FC236}">
                    <a16:creationId xmlns:a16="http://schemas.microsoft.com/office/drawing/2014/main" id="{6E7F926D-F5AA-4D9E-9C81-33784AC45D52}"/>
                  </a:ext>
                </a:extLst>
              </p:cNvPr>
              <p:cNvSpPr/>
              <p:nvPr/>
            </p:nvSpPr>
            <p:spPr>
              <a:xfrm>
                <a:off x="1415887" y="2436300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  <p:sp>
            <p:nvSpPr>
              <p:cNvPr id="89" name="Rectangle 88">
                <a:extLst>
                  <a:ext uri="{FF2B5EF4-FFF2-40B4-BE49-F238E27FC236}">
                    <a16:creationId xmlns:a16="http://schemas.microsoft.com/office/drawing/2014/main" id="{C1912F97-C2EB-4275-9791-4E9C64D9ACD9}"/>
                  </a:ext>
                </a:extLst>
              </p:cNvPr>
              <p:cNvSpPr/>
              <p:nvPr/>
            </p:nvSpPr>
            <p:spPr>
              <a:xfrm>
                <a:off x="1682240" y="2436300"/>
                <a:ext cx="589731" cy="545364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</p:grpSp>
        <p:grpSp>
          <p:nvGrpSpPr>
            <p:cNvPr id="82" name="Group 81">
              <a:extLst>
                <a:ext uri="{FF2B5EF4-FFF2-40B4-BE49-F238E27FC236}">
                  <a16:creationId xmlns:a16="http://schemas.microsoft.com/office/drawing/2014/main" id="{C16323A1-198A-411C-8014-263092240122}"/>
                </a:ext>
              </a:extLst>
            </p:cNvPr>
            <p:cNvGrpSpPr/>
            <p:nvPr/>
          </p:nvGrpSpPr>
          <p:grpSpPr>
            <a:xfrm>
              <a:off x="693506" y="260324"/>
              <a:ext cx="556881" cy="183753"/>
              <a:chOff x="898206" y="1403413"/>
              <a:chExt cx="1652778" cy="545364"/>
            </a:xfrm>
            <a:grpFill/>
          </p:grpSpPr>
          <p:sp>
            <p:nvSpPr>
              <p:cNvPr id="84" name="Oval 83">
                <a:extLst>
                  <a:ext uri="{FF2B5EF4-FFF2-40B4-BE49-F238E27FC236}">
                    <a16:creationId xmlns:a16="http://schemas.microsoft.com/office/drawing/2014/main" id="{EBCE0676-4E25-4F10-A07B-A47F92C7CF81}"/>
                  </a:ext>
                </a:extLst>
              </p:cNvPr>
              <p:cNvSpPr/>
              <p:nvPr/>
            </p:nvSpPr>
            <p:spPr>
              <a:xfrm>
                <a:off x="2005620" y="1403413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  <p:sp>
            <p:nvSpPr>
              <p:cNvPr id="85" name="Oval 84">
                <a:extLst>
                  <a:ext uri="{FF2B5EF4-FFF2-40B4-BE49-F238E27FC236}">
                    <a16:creationId xmlns:a16="http://schemas.microsoft.com/office/drawing/2014/main" id="{54E9DB86-0937-4D11-B319-669FF994439C}"/>
                  </a:ext>
                </a:extLst>
              </p:cNvPr>
              <p:cNvSpPr/>
              <p:nvPr/>
            </p:nvSpPr>
            <p:spPr>
              <a:xfrm>
                <a:off x="898206" y="1403413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  <p:sp>
            <p:nvSpPr>
              <p:cNvPr id="86" name="Rectangle 85">
                <a:extLst>
                  <a:ext uri="{FF2B5EF4-FFF2-40B4-BE49-F238E27FC236}">
                    <a16:creationId xmlns:a16="http://schemas.microsoft.com/office/drawing/2014/main" id="{3D6AB82A-C88A-4E42-B5CF-C687B3371284}"/>
                  </a:ext>
                </a:extLst>
              </p:cNvPr>
              <p:cNvSpPr/>
              <p:nvPr/>
            </p:nvSpPr>
            <p:spPr>
              <a:xfrm>
                <a:off x="1164538" y="1403413"/>
                <a:ext cx="1117581" cy="545364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</p:grpSp>
        <p:sp>
          <p:nvSpPr>
            <p:cNvPr id="103" name="Freeform: Shape 102">
              <a:extLst>
                <a:ext uri="{FF2B5EF4-FFF2-40B4-BE49-F238E27FC236}">
                  <a16:creationId xmlns:a16="http://schemas.microsoft.com/office/drawing/2014/main" id="{754DFB64-FFE8-4762-8BD2-6D5B67A56394}"/>
                </a:ext>
              </a:extLst>
            </p:cNvPr>
            <p:cNvSpPr/>
            <p:nvPr/>
          </p:nvSpPr>
          <p:spPr>
            <a:xfrm>
              <a:off x="0" y="260324"/>
              <a:ext cx="550424" cy="183006"/>
            </a:xfrm>
            <a:custGeom>
              <a:avLst/>
              <a:gdLst>
                <a:gd name="connsiteX0" fmla="*/ 0 w 550424"/>
                <a:gd name="connsiteY0" fmla="*/ 0 h 183006"/>
                <a:gd name="connsiteX1" fmla="*/ 456956 w 550424"/>
                <a:gd name="connsiteY1" fmla="*/ 0 h 183006"/>
                <a:gd name="connsiteX2" fmla="*/ 456956 w 550424"/>
                <a:gd name="connsiteY2" fmla="*/ 397 h 183006"/>
                <a:gd name="connsiteX3" fmla="*/ 458921 w 550424"/>
                <a:gd name="connsiteY3" fmla="*/ 0 h 183006"/>
                <a:gd name="connsiteX4" fmla="*/ 550424 w 550424"/>
                <a:gd name="connsiteY4" fmla="*/ 91503 h 183006"/>
                <a:gd name="connsiteX5" fmla="*/ 458921 w 550424"/>
                <a:gd name="connsiteY5" fmla="*/ 183006 h 183006"/>
                <a:gd name="connsiteX6" fmla="*/ 456956 w 550424"/>
                <a:gd name="connsiteY6" fmla="*/ 182609 h 183006"/>
                <a:gd name="connsiteX7" fmla="*/ 456956 w 550424"/>
                <a:gd name="connsiteY7" fmla="*/ 183006 h 183006"/>
                <a:gd name="connsiteX8" fmla="*/ 0 w 550424"/>
                <a:gd name="connsiteY8" fmla="*/ 183006 h 183006"/>
                <a:gd name="connsiteX9" fmla="*/ 0 w 550424"/>
                <a:gd name="connsiteY9" fmla="*/ 0 h 1830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50424" h="183006">
                  <a:moveTo>
                    <a:pt x="0" y="0"/>
                  </a:moveTo>
                  <a:lnTo>
                    <a:pt x="456956" y="0"/>
                  </a:lnTo>
                  <a:lnTo>
                    <a:pt x="456956" y="397"/>
                  </a:lnTo>
                  <a:lnTo>
                    <a:pt x="458921" y="0"/>
                  </a:lnTo>
                  <a:cubicBezTo>
                    <a:pt x="509457" y="0"/>
                    <a:pt x="550424" y="40967"/>
                    <a:pt x="550424" y="91503"/>
                  </a:cubicBezTo>
                  <a:cubicBezTo>
                    <a:pt x="550424" y="142039"/>
                    <a:pt x="509457" y="183006"/>
                    <a:pt x="458921" y="183006"/>
                  </a:cubicBezTo>
                  <a:lnTo>
                    <a:pt x="456956" y="182609"/>
                  </a:lnTo>
                  <a:lnTo>
                    <a:pt x="456956" y="183006"/>
                  </a:lnTo>
                  <a:lnTo>
                    <a:pt x="0" y="183006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/>
            </a:p>
          </p:txBody>
        </p:sp>
        <p:sp>
          <p:nvSpPr>
            <p:cNvPr id="106" name="Freeform: Shape 105">
              <a:extLst>
                <a:ext uri="{FF2B5EF4-FFF2-40B4-BE49-F238E27FC236}">
                  <a16:creationId xmlns:a16="http://schemas.microsoft.com/office/drawing/2014/main" id="{82D6BF1B-7B4E-4715-B3AA-0137D5565B61}"/>
                </a:ext>
              </a:extLst>
            </p:cNvPr>
            <p:cNvSpPr/>
            <p:nvPr/>
          </p:nvSpPr>
          <p:spPr>
            <a:xfrm>
              <a:off x="-1" y="608341"/>
              <a:ext cx="733596" cy="182880"/>
            </a:xfrm>
            <a:custGeom>
              <a:avLst/>
              <a:gdLst>
                <a:gd name="connsiteX0" fmla="*/ 0 w 733596"/>
                <a:gd name="connsiteY0" fmla="*/ 0 h 182880"/>
                <a:gd name="connsiteX1" fmla="*/ 642156 w 733596"/>
                <a:gd name="connsiteY1" fmla="*/ 0 h 182880"/>
                <a:gd name="connsiteX2" fmla="*/ 733596 w 733596"/>
                <a:gd name="connsiteY2" fmla="*/ 91440 h 182880"/>
                <a:gd name="connsiteX3" fmla="*/ 642156 w 733596"/>
                <a:gd name="connsiteY3" fmla="*/ 182880 h 182880"/>
                <a:gd name="connsiteX4" fmla="*/ 0 w 733596"/>
                <a:gd name="connsiteY4" fmla="*/ 182880 h 182880"/>
                <a:gd name="connsiteX5" fmla="*/ 0 w 733596"/>
                <a:gd name="connsiteY5" fmla="*/ 0 h 1828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33596" h="182880">
                  <a:moveTo>
                    <a:pt x="0" y="0"/>
                  </a:moveTo>
                  <a:lnTo>
                    <a:pt x="642156" y="0"/>
                  </a:lnTo>
                  <a:cubicBezTo>
                    <a:pt x="692657" y="0"/>
                    <a:pt x="733596" y="40939"/>
                    <a:pt x="733596" y="91440"/>
                  </a:cubicBezTo>
                  <a:cubicBezTo>
                    <a:pt x="733596" y="141941"/>
                    <a:pt x="692657" y="182880"/>
                    <a:pt x="642156" y="182880"/>
                  </a:cubicBezTo>
                  <a:lnTo>
                    <a:pt x="0" y="18288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/>
            </a:p>
          </p:txBody>
        </p:sp>
        <p:sp>
          <p:nvSpPr>
            <p:cNvPr id="112" name="Freeform: Shape 111">
              <a:extLst>
                <a:ext uri="{FF2B5EF4-FFF2-40B4-BE49-F238E27FC236}">
                  <a16:creationId xmlns:a16="http://schemas.microsoft.com/office/drawing/2014/main" id="{DFFECD78-AD3E-430A-825C-361F3F0A6DF1}"/>
                </a:ext>
              </a:extLst>
            </p:cNvPr>
            <p:cNvSpPr/>
            <p:nvPr/>
          </p:nvSpPr>
          <p:spPr>
            <a:xfrm>
              <a:off x="0" y="952508"/>
              <a:ext cx="786403" cy="183006"/>
            </a:xfrm>
            <a:custGeom>
              <a:avLst/>
              <a:gdLst>
                <a:gd name="connsiteX0" fmla="*/ 0 w 786403"/>
                <a:gd name="connsiteY0" fmla="*/ 0 h 183006"/>
                <a:gd name="connsiteX1" fmla="*/ 692936 w 786403"/>
                <a:gd name="connsiteY1" fmla="*/ 0 h 183006"/>
                <a:gd name="connsiteX2" fmla="*/ 692936 w 786403"/>
                <a:gd name="connsiteY2" fmla="*/ 397 h 183006"/>
                <a:gd name="connsiteX3" fmla="*/ 694900 w 786403"/>
                <a:gd name="connsiteY3" fmla="*/ 0 h 183006"/>
                <a:gd name="connsiteX4" fmla="*/ 786403 w 786403"/>
                <a:gd name="connsiteY4" fmla="*/ 91503 h 183006"/>
                <a:gd name="connsiteX5" fmla="*/ 694900 w 786403"/>
                <a:gd name="connsiteY5" fmla="*/ 183006 h 183006"/>
                <a:gd name="connsiteX6" fmla="*/ 692936 w 786403"/>
                <a:gd name="connsiteY6" fmla="*/ 182610 h 183006"/>
                <a:gd name="connsiteX7" fmla="*/ 692936 w 786403"/>
                <a:gd name="connsiteY7" fmla="*/ 183006 h 183006"/>
                <a:gd name="connsiteX8" fmla="*/ 0 w 786403"/>
                <a:gd name="connsiteY8" fmla="*/ 183006 h 183006"/>
                <a:gd name="connsiteX9" fmla="*/ 0 w 786403"/>
                <a:gd name="connsiteY9" fmla="*/ 0 h 1830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786403" h="183006">
                  <a:moveTo>
                    <a:pt x="0" y="0"/>
                  </a:moveTo>
                  <a:lnTo>
                    <a:pt x="692936" y="0"/>
                  </a:lnTo>
                  <a:lnTo>
                    <a:pt x="692936" y="397"/>
                  </a:lnTo>
                  <a:lnTo>
                    <a:pt x="694900" y="0"/>
                  </a:lnTo>
                  <a:cubicBezTo>
                    <a:pt x="745436" y="0"/>
                    <a:pt x="786403" y="40967"/>
                    <a:pt x="786403" y="91503"/>
                  </a:cubicBezTo>
                  <a:cubicBezTo>
                    <a:pt x="786403" y="142039"/>
                    <a:pt x="745436" y="183006"/>
                    <a:pt x="694900" y="183006"/>
                  </a:cubicBezTo>
                  <a:lnTo>
                    <a:pt x="692936" y="182610"/>
                  </a:lnTo>
                  <a:lnTo>
                    <a:pt x="692936" y="183006"/>
                  </a:lnTo>
                  <a:lnTo>
                    <a:pt x="0" y="183006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/>
            </a:p>
          </p:txBody>
        </p:sp>
        <p:sp>
          <p:nvSpPr>
            <p:cNvPr id="115" name="Freeform: Shape 114">
              <a:extLst>
                <a:ext uri="{FF2B5EF4-FFF2-40B4-BE49-F238E27FC236}">
                  <a16:creationId xmlns:a16="http://schemas.microsoft.com/office/drawing/2014/main" id="{01864E2F-2224-4B8D-A54C-010E70A5006D}"/>
                </a:ext>
              </a:extLst>
            </p:cNvPr>
            <p:cNvSpPr/>
            <p:nvPr/>
          </p:nvSpPr>
          <p:spPr>
            <a:xfrm>
              <a:off x="-1" y="1304902"/>
              <a:ext cx="733596" cy="182880"/>
            </a:xfrm>
            <a:custGeom>
              <a:avLst/>
              <a:gdLst>
                <a:gd name="connsiteX0" fmla="*/ 0 w 733596"/>
                <a:gd name="connsiteY0" fmla="*/ 0 h 182880"/>
                <a:gd name="connsiteX1" fmla="*/ 642156 w 733596"/>
                <a:gd name="connsiteY1" fmla="*/ 0 h 182880"/>
                <a:gd name="connsiteX2" fmla="*/ 733596 w 733596"/>
                <a:gd name="connsiteY2" fmla="*/ 91440 h 182880"/>
                <a:gd name="connsiteX3" fmla="*/ 642156 w 733596"/>
                <a:gd name="connsiteY3" fmla="*/ 182880 h 182880"/>
                <a:gd name="connsiteX4" fmla="*/ 0 w 733596"/>
                <a:gd name="connsiteY4" fmla="*/ 182880 h 182880"/>
                <a:gd name="connsiteX5" fmla="*/ 0 w 733596"/>
                <a:gd name="connsiteY5" fmla="*/ 0 h 1828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33596" h="182880">
                  <a:moveTo>
                    <a:pt x="0" y="0"/>
                  </a:moveTo>
                  <a:lnTo>
                    <a:pt x="642156" y="0"/>
                  </a:lnTo>
                  <a:cubicBezTo>
                    <a:pt x="692657" y="0"/>
                    <a:pt x="733596" y="40939"/>
                    <a:pt x="733596" y="91440"/>
                  </a:cubicBezTo>
                  <a:cubicBezTo>
                    <a:pt x="733596" y="141941"/>
                    <a:pt x="692657" y="182880"/>
                    <a:pt x="642156" y="182880"/>
                  </a:cubicBezTo>
                  <a:lnTo>
                    <a:pt x="0" y="18288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/>
            </a:p>
          </p:txBody>
        </p:sp>
        <p:sp>
          <p:nvSpPr>
            <p:cNvPr id="118" name="Freeform: Shape 117">
              <a:extLst>
                <a:ext uri="{FF2B5EF4-FFF2-40B4-BE49-F238E27FC236}">
                  <a16:creationId xmlns:a16="http://schemas.microsoft.com/office/drawing/2014/main" id="{8652EA3D-B91A-4960-BC33-8380D943F8F9}"/>
                </a:ext>
              </a:extLst>
            </p:cNvPr>
            <p:cNvSpPr/>
            <p:nvPr/>
          </p:nvSpPr>
          <p:spPr>
            <a:xfrm>
              <a:off x="0" y="1649603"/>
              <a:ext cx="550424" cy="183006"/>
            </a:xfrm>
            <a:custGeom>
              <a:avLst/>
              <a:gdLst>
                <a:gd name="connsiteX0" fmla="*/ 0 w 550424"/>
                <a:gd name="connsiteY0" fmla="*/ 0 h 183006"/>
                <a:gd name="connsiteX1" fmla="*/ 456956 w 550424"/>
                <a:gd name="connsiteY1" fmla="*/ 0 h 183006"/>
                <a:gd name="connsiteX2" fmla="*/ 456956 w 550424"/>
                <a:gd name="connsiteY2" fmla="*/ 397 h 183006"/>
                <a:gd name="connsiteX3" fmla="*/ 458921 w 550424"/>
                <a:gd name="connsiteY3" fmla="*/ 0 h 183006"/>
                <a:gd name="connsiteX4" fmla="*/ 550424 w 550424"/>
                <a:gd name="connsiteY4" fmla="*/ 91503 h 183006"/>
                <a:gd name="connsiteX5" fmla="*/ 458921 w 550424"/>
                <a:gd name="connsiteY5" fmla="*/ 183006 h 183006"/>
                <a:gd name="connsiteX6" fmla="*/ 456956 w 550424"/>
                <a:gd name="connsiteY6" fmla="*/ 182609 h 183006"/>
                <a:gd name="connsiteX7" fmla="*/ 456956 w 550424"/>
                <a:gd name="connsiteY7" fmla="*/ 183006 h 183006"/>
                <a:gd name="connsiteX8" fmla="*/ 0 w 550424"/>
                <a:gd name="connsiteY8" fmla="*/ 183006 h 183006"/>
                <a:gd name="connsiteX9" fmla="*/ 0 w 550424"/>
                <a:gd name="connsiteY9" fmla="*/ 0 h 1830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50424" h="183006">
                  <a:moveTo>
                    <a:pt x="0" y="0"/>
                  </a:moveTo>
                  <a:lnTo>
                    <a:pt x="456956" y="0"/>
                  </a:lnTo>
                  <a:lnTo>
                    <a:pt x="456956" y="397"/>
                  </a:lnTo>
                  <a:lnTo>
                    <a:pt x="458921" y="0"/>
                  </a:lnTo>
                  <a:cubicBezTo>
                    <a:pt x="509457" y="0"/>
                    <a:pt x="550424" y="40967"/>
                    <a:pt x="550424" y="91503"/>
                  </a:cubicBezTo>
                  <a:cubicBezTo>
                    <a:pt x="550424" y="142039"/>
                    <a:pt x="509457" y="183006"/>
                    <a:pt x="458921" y="183006"/>
                  </a:cubicBezTo>
                  <a:lnTo>
                    <a:pt x="456956" y="182609"/>
                  </a:lnTo>
                  <a:lnTo>
                    <a:pt x="456956" y="183006"/>
                  </a:lnTo>
                  <a:lnTo>
                    <a:pt x="0" y="183006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/>
            </a:p>
          </p:txBody>
        </p:sp>
      </p:grpSp>
      <p:sp>
        <p:nvSpPr>
          <p:cNvPr id="56" name="Slide Number Placeholder 5">
            <a:extLst>
              <a:ext uri="{FF2B5EF4-FFF2-40B4-BE49-F238E27FC236}">
                <a16:creationId xmlns:a16="http://schemas.microsoft.com/office/drawing/2014/main" id="{030699F5-6B57-4BC7-B774-B8F85B96214D}"/>
              </a:ext>
            </a:extLst>
          </p:cNvPr>
          <p:cNvSpPr txBox="1">
            <a:spLocks/>
          </p:cNvSpPr>
          <p:nvPr/>
        </p:nvSpPr>
        <p:spPr bwMode="white">
          <a:xfrm>
            <a:off x="11723254" y="6544746"/>
            <a:ext cx="3530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rgbClr val="959CA0"/>
                </a:solidFill>
              </a:rPr>
              <a:t>‹#›</a:t>
            </a:fld>
            <a:endParaRPr lang="en-US" sz="800" b="0">
              <a:solidFill>
                <a:srgbClr val="959CA0"/>
              </a:solidFill>
            </a:endParaRPr>
          </a:p>
        </p:txBody>
      </p:sp>
      <p:pic>
        <p:nvPicPr>
          <p:cNvPr id="34" name="Graphic 33">
            <a:extLst>
              <a:ext uri="{FF2B5EF4-FFF2-40B4-BE49-F238E27FC236}">
                <a16:creationId xmlns:a16="http://schemas.microsoft.com/office/drawing/2014/main" id="{18FC357D-3DB1-1B43-8FB6-6F70286F746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376299" y="6535995"/>
            <a:ext cx="1143000" cy="215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6868445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able of Contents_Two Column - IQVI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" name="Rectangle 50">
            <a:extLst>
              <a:ext uri="{FF2B5EF4-FFF2-40B4-BE49-F238E27FC236}">
                <a16:creationId xmlns:a16="http://schemas.microsoft.com/office/drawing/2014/main" id="{38658025-8660-B74C-8ED5-6D1A405A1A70}"/>
              </a:ext>
            </a:extLst>
          </p:cNvPr>
          <p:cNvSpPr/>
          <p:nvPr/>
        </p:nvSpPr>
        <p:spPr bwMode="gray">
          <a:xfrm>
            <a:off x="353568" y="0"/>
            <a:ext cx="11484864" cy="6858000"/>
          </a:xfrm>
          <a:prstGeom prst="rect">
            <a:avLst/>
          </a:prstGeom>
          <a:solidFill>
            <a:srgbClr val="F4F4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/>
          </a:p>
        </p:txBody>
      </p:sp>
      <p:sp>
        <p:nvSpPr>
          <p:cNvPr id="54" name="Content Placeholder 2">
            <a:extLst>
              <a:ext uri="{FF2B5EF4-FFF2-40B4-BE49-F238E27FC236}">
                <a16:creationId xmlns:a16="http://schemas.microsoft.com/office/drawing/2014/main" id="{FC9B35E8-F292-2B42-952E-06F2F248C602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962418" y="1561892"/>
            <a:ext cx="4442783" cy="4712626"/>
          </a:xfrm>
          <a:prstGeom prst="rect">
            <a:avLst/>
          </a:prstGeom>
        </p:spPr>
        <p:txBody>
          <a:bodyPr/>
          <a:lstStyle>
            <a:lvl1pPr marL="182880" indent="-182880">
              <a:lnSpc>
                <a:spcPct val="100000"/>
              </a:lnSpc>
              <a:spcBef>
                <a:spcPts val="2000"/>
              </a:spcBef>
              <a:buClr>
                <a:schemeClr val="accent1"/>
              </a:buClr>
              <a:buFont typeface="System Font Regular"/>
              <a:buChar char="+"/>
              <a:defRPr sz="1800">
                <a:solidFill>
                  <a:schemeClr val="tx1"/>
                </a:solidFill>
              </a:defRPr>
            </a:lvl1pPr>
            <a:lvl2pPr marL="365760" indent="-182880">
              <a:lnSpc>
                <a:spcPct val="100000"/>
              </a:lnSpc>
              <a:spcBef>
                <a:spcPts val="8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</a:defRPr>
            </a:lvl2pPr>
            <a:lvl3pPr marL="548640" indent="-182880">
              <a:lnSpc>
                <a:spcPct val="100000"/>
              </a:lnSpc>
              <a:spcBef>
                <a:spcPts val="800"/>
              </a:spcBef>
              <a:buClrTx/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31520" indent="-182880">
              <a:lnSpc>
                <a:spcPct val="100000"/>
              </a:lnSpc>
              <a:spcBef>
                <a:spcPts val="800"/>
              </a:spcBef>
              <a:buClrTx/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82880">
              <a:lnSpc>
                <a:spcPct val="100000"/>
              </a:lnSpc>
              <a:spcBef>
                <a:spcPts val="800"/>
              </a:spcBef>
              <a:buClrTx/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Arial 18pt bullet level 1</a:t>
            </a:r>
          </a:p>
          <a:p>
            <a:pPr lvl="1"/>
            <a:r>
              <a:rPr lang="en-US"/>
              <a:t>Arial 16pt bullet level 2</a:t>
            </a:r>
          </a:p>
          <a:p>
            <a:pPr lvl="2"/>
            <a:r>
              <a:rPr lang="en-US"/>
              <a:t>Arial 16pt bullet level 3</a:t>
            </a:r>
          </a:p>
          <a:p>
            <a:pPr lvl="3"/>
            <a:r>
              <a:rPr lang="en-US"/>
              <a:t>Arial 16pt bullet level 4</a:t>
            </a:r>
          </a:p>
          <a:p>
            <a:pPr lvl="4"/>
            <a:r>
              <a:rPr lang="en-US"/>
              <a:t>Arial 16pt bullet level 5</a:t>
            </a:r>
          </a:p>
          <a:p>
            <a:pPr lvl="0"/>
            <a:r>
              <a:rPr lang="en-US"/>
              <a:t>Arial 18pt bullet level 1</a:t>
            </a:r>
          </a:p>
          <a:p>
            <a:pPr lvl="1"/>
            <a:r>
              <a:rPr lang="en-US"/>
              <a:t>Arial 16pt bullet level 2</a:t>
            </a:r>
          </a:p>
          <a:p>
            <a:pPr lvl="2"/>
            <a:r>
              <a:rPr lang="en-US"/>
              <a:t>Arial 16pt bullet level 3</a:t>
            </a:r>
          </a:p>
          <a:p>
            <a:pPr lvl="3"/>
            <a:r>
              <a:rPr lang="en-US"/>
              <a:t>Arial 16pt bullet level 4</a:t>
            </a:r>
          </a:p>
          <a:p>
            <a:pPr lvl="4"/>
            <a:r>
              <a:rPr lang="en-US"/>
              <a:t>Arial 16pt bullet level 5</a:t>
            </a:r>
          </a:p>
        </p:txBody>
      </p:sp>
      <p:sp>
        <p:nvSpPr>
          <p:cNvPr id="57" name="Title 3">
            <a:extLst>
              <a:ext uri="{FF2B5EF4-FFF2-40B4-BE49-F238E27FC236}">
                <a16:creationId xmlns:a16="http://schemas.microsoft.com/office/drawing/2014/main" id="{7A9E8FF8-48AE-4B47-8CBF-17FB49CF53F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962418" y="823398"/>
            <a:ext cx="9163983" cy="594360"/>
          </a:xfrm>
          <a:prstGeom prst="rect">
            <a:avLst/>
          </a:prstGeom>
        </p:spPr>
        <p:txBody>
          <a:bodyPr anchor="ctr"/>
          <a:lstStyle>
            <a:lvl1pPr>
              <a:defRPr sz="3200" b="1">
                <a:solidFill>
                  <a:schemeClr val="accent1"/>
                </a:solidFill>
              </a:defRPr>
            </a:lvl1pPr>
          </a:lstStyle>
          <a:p>
            <a:r>
              <a:rPr lang="en-US"/>
              <a:t>Table of contents or Agenda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6A1CD0AD-A634-4EA6-AE67-C63B52CE7B06}"/>
              </a:ext>
            </a:extLst>
          </p:cNvPr>
          <p:cNvGrpSpPr/>
          <p:nvPr/>
        </p:nvGrpSpPr>
        <p:grpSpPr>
          <a:xfrm>
            <a:off x="-1" y="260324"/>
            <a:ext cx="1250388" cy="1575820"/>
            <a:chOff x="-1" y="260324"/>
            <a:chExt cx="1250388" cy="1575820"/>
          </a:xfrm>
          <a:solidFill>
            <a:schemeClr val="accent1"/>
          </a:solidFill>
        </p:grpSpPr>
        <p:grpSp>
          <p:nvGrpSpPr>
            <p:cNvPr id="78" name="Group 77">
              <a:extLst>
                <a:ext uri="{FF2B5EF4-FFF2-40B4-BE49-F238E27FC236}">
                  <a16:creationId xmlns:a16="http://schemas.microsoft.com/office/drawing/2014/main" id="{B2E777F5-EFF3-457A-8259-AC8F3FAFC249}"/>
                </a:ext>
              </a:extLst>
            </p:cNvPr>
            <p:cNvGrpSpPr/>
            <p:nvPr/>
          </p:nvGrpSpPr>
          <p:grpSpPr>
            <a:xfrm>
              <a:off x="686264" y="1652391"/>
              <a:ext cx="564123" cy="183753"/>
              <a:chOff x="876236" y="5534957"/>
              <a:chExt cx="1674271" cy="545364"/>
            </a:xfrm>
            <a:grpFill/>
          </p:grpSpPr>
          <p:sp>
            <p:nvSpPr>
              <p:cNvPr id="96" name="Rectangle 95">
                <a:extLst>
                  <a:ext uri="{FF2B5EF4-FFF2-40B4-BE49-F238E27FC236}">
                    <a16:creationId xmlns:a16="http://schemas.microsoft.com/office/drawing/2014/main" id="{B117E7E6-D510-412B-8045-21F2179CDBFD}"/>
                  </a:ext>
                </a:extLst>
              </p:cNvPr>
              <p:cNvSpPr/>
              <p:nvPr/>
            </p:nvSpPr>
            <p:spPr>
              <a:xfrm>
                <a:off x="1154393" y="5534957"/>
                <a:ext cx="1117582" cy="545364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  <p:sp>
            <p:nvSpPr>
              <p:cNvPr id="97" name="Oval 96">
                <a:extLst>
                  <a:ext uri="{FF2B5EF4-FFF2-40B4-BE49-F238E27FC236}">
                    <a16:creationId xmlns:a16="http://schemas.microsoft.com/office/drawing/2014/main" id="{79A544B5-B37E-40F9-A3D1-E4A00DF6E89F}"/>
                  </a:ext>
                </a:extLst>
              </p:cNvPr>
              <p:cNvSpPr/>
              <p:nvPr/>
            </p:nvSpPr>
            <p:spPr>
              <a:xfrm>
                <a:off x="2005143" y="5534957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  <p:sp>
            <p:nvSpPr>
              <p:cNvPr id="98" name="Oval 97">
                <a:extLst>
                  <a:ext uri="{FF2B5EF4-FFF2-40B4-BE49-F238E27FC236}">
                    <a16:creationId xmlns:a16="http://schemas.microsoft.com/office/drawing/2014/main" id="{EF1038BB-A4E9-41A9-B2F4-23E7F5CD6621}"/>
                  </a:ext>
                </a:extLst>
              </p:cNvPr>
              <p:cNvSpPr/>
              <p:nvPr/>
            </p:nvSpPr>
            <p:spPr>
              <a:xfrm>
                <a:off x="876236" y="5534957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</p:grpSp>
        <p:grpSp>
          <p:nvGrpSpPr>
            <p:cNvPr id="79" name="Group 78">
              <a:extLst>
                <a:ext uri="{FF2B5EF4-FFF2-40B4-BE49-F238E27FC236}">
                  <a16:creationId xmlns:a16="http://schemas.microsoft.com/office/drawing/2014/main" id="{029BE464-4CCF-4D58-8077-7337778D29CA}"/>
                </a:ext>
              </a:extLst>
            </p:cNvPr>
            <p:cNvGrpSpPr/>
            <p:nvPr/>
          </p:nvGrpSpPr>
          <p:grpSpPr>
            <a:xfrm>
              <a:off x="864211" y="1304375"/>
              <a:ext cx="386176" cy="183753"/>
              <a:chOff x="1404367" y="4502072"/>
              <a:chExt cx="1146140" cy="545364"/>
            </a:xfrm>
            <a:grpFill/>
          </p:grpSpPr>
          <p:sp>
            <p:nvSpPr>
              <p:cNvPr id="93" name="Rectangle 92">
                <a:extLst>
                  <a:ext uri="{FF2B5EF4-FFF2-40B4-BE49-F238E27FC236}">
                    <a16:creationId xmlns:a16="http://schemas.microsoft.com/office/drawing/2014/main" id="{D0DC8CC7-4C81-439E-B602-330616AC3184}"/>
                  </a:ext>
                </a:extLst>
              </p:cNvPr>
              <p:cNvSpPr/>
              <p:nvPr/>
            </p:nvSpPr>
            <p:spPr>
              <a:xfrm>
                <a:off x="1682197" y="4502072"/>
                <a:ext cx="589775" cy="545364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  <p:sp>
            <p:nvSpPr>
              <p:cNvPr id="94" name="Oval 93">
                <a:extLst>
                  <a:ext uri="{FF2B5EF4-FFF2-40B4-BE49-F238E27FC236}">
                    <a16:creationId xmlns:a16="http://schemas.microsoft.com/office/drawing/2014/main" id="{ECB59EFB-5B99-4637-9821-186308CA811D}"/>
                  </a:ext>
                </a:extLst>
              </p:cNvPr>
              <p:cNvSpPr/>
              <p:nvPr/>
            </p:nvSpPr>
            <p:spPr>
              <a:xfrm>
                <a:off x="2005143" y="4502072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  <p:sp>
            <p:nvSpPr>
              <p:cNvPr id="95" name="Oval 94">
                <a:extLst>
                  <a:ext uri="{FF2B5EF4-FFF2-40B4-BE49-F238E27FC236}">
                    <a16:creationId xmlns:a16="http://schemas.microsoft.com/office/drawing/2014/main" id="{7060CC02-8F6C-45AF-9DBE-33B4EAA77FAE}"/>
                  </a:ext>
                </a:extLst>
              </p:cNvPr>
              <p:cNvSpPr/>
              <p:nvPr/>
            </p:nvSpPr>
            <p:spPr>
              <a:xfrm>
                <a:off x="1404367" y="4502072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</p:grpSp>
        <p:grpSp>
          <p:nvGrpSpPr>
            <p:cNvPr id="80" name="Group 79">
              <a:extLst>
                <a:ext uri="{FF2B5EF4-FFF2-40B4-BE49-F238E27FC236}">
                  <a16:creationId xmlns:a16="http://schemas.microsoft.com/office/drawing/2014/main" id="{EDBE8CF3-142D-438A-880B-7423D1E442C5}"/>
                </a:ext>
              </a:extLst>
            </p:cNvPr>
            <p:cNvGrpSpPr/>
            <p:nvPr/>
          </p:nvGrpSpPr>
          <p:grpSpPr>
            <a:xfrm>
              <a:off x="917753" y="956358"/>
              <a:ext cx="332634" cy="183753"/>
              <a:chOff x="1560101" y="3469185"/>
              <a:chExt cx="987231" cy="545364"/>
            </a:xfrm>
            <a:grpFill/>
          </p:grpSpPr>
          <p:sp>
            <p:nvSpPr>
              <p:cNvPr id="90" name="Oval 89">
                <a:extLst>
                  <a:ext uri="{FF2B5EF4-FFF2-40B4-BE49-F238E27FC236}">
                    <a16:creationId xmlns:a16="http://schemas.microsoft.com/office/drawing/2014/main" id="{61D9E7AA-5FDE-45C3-B7AC-F8C06B142069}"/>
                  </a:ext>
                </a:extLst>
              </p:cNvPr>
              <p:cNvSpPr/>
              <p:nvPr/>
            </p:nvSpPr>
            <p:spPr>
              <a:xfrm>
                <a:off x="1560101" y="3469185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  <p:sp>
            <p:nvSpPr>
              <p:cNvPr id="91" name="Rectangle 90">
                <a:extLst>
                  <a:ext uri="{FF2B5EF4-FFF2-40B4-BE49-F238E27FC236}">
                    <a16:creationId xmlns:a16="http://schemas.microsoft.com/office/drawing/2014/main" id="{13502E5E-1590-4501-977E-A406C72F35D0}"/>
                  </a:ext>
                </a:extLst>
              </p:cNvPr>
              <p:cNvSpPr/>
              <p:nvPr/>
            </p:nvSpPr>
            <p:spPr>
              <a:xfrm>
                <a:off x="1825936" y="3469185"/>
                <a:ext cx="446037" cy="545364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  <p:sp>
            <p:nvSpPr>
              <p:cNvPr id="92" name="Oval 91">
                <a:extLst>
                  <a:ext uri="{FF2B5EF4-FFF2-40B4-BE49-F238E27FC236}">
                    <a16:creationId xmlns:a16="http://schemas.microsoft.com/office/drawing/2014/main" id="{9849375F-4430-4BAF-8CD8-BABE2895B0CD}"/>
                  </a:ext>
                </a:extLst>
              </p:cNvPr>
              <p:cNvSpPr/>
              <p:nvPr/>
            </p:nvSpPr>
            <p:spPr>
              <a:xfrm>
                <a:off x="2001968" y="3469185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</p:grpSp>
        <p:grpSp>
          <p:nvGrpSpPr>
            <p:cNvPr id="81" name="Group 80">
              <a:extLst>
                <a:ext uri="{FF2B5EF4-FFF2-40B4-BE49-F238E27FC236}">
                  <a16:creationId xmlns:a16="http://schemas.microsoft.com/office/drawing/2014/main" id="{7C368109-07EC-4B00-B53E-7AA055EEDBEE}"/>
                </a:ext>
              </a:extLst>
            </p:cNvPr>
            <p:cNvGrpSpPr/>
            <p:nvPr/>
          </p:nvGrpSpPr>
          <p:grpSpPr>
            <a:xfrm>
              <a:off x="868078" y="608341"/>
              <a:ext cx="382309" cy="183753"/>
              <a:chOff x="1415887" y="2436300"/>
              <a:chExt cx="1134663" cy="545364"/>
            </a:xfrm>
            <a:grpFill/>
          </p:grpSpPr>
          <p:sp>
            <p:nvSpPr>
              <p:cNvPr id="87" name="Oval 86">
                <a:extLst>
                  <a:ext uri="{FF2B5EF4-FFF2-40B4-BE49-F238E27FC236}">
                    <a16:creationId xmlns:a16="http://schemas.microsoft.com/office/drawing/2014/main" id="{458E032A-AC8B-4235-848E-250F4190B814}"/>
                  </a:ext>
                </a:extLst>
              </p:cNvPr>
              <p:cNvSpPr/>
              <p:nvPr/>
            </p:nvSpPr>
            <p:spPr>
              <a:xfrm>
                <a:off x="2005186" y="2436300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  <p:sp>
            <p:nvSpPr>
              <p:cNvPr id="88" name="Oval 87">
                <a:extLst>
                  <a:ext uri="{FF2B5EF4-FFF2-40B4-BE49-F238E27FC236}">
                    <a16:creationId xmlns:a16="http://schemas.microsoft.com/office/drawing/2014/main" id="{6E7F926D-F5AA-4D9E-9C81-33784AC45D52}"/>
                  </a:ext>
                </a:extLst>
              </p:cNvPr>
              <p:cNvSpPr/>
              <p:nvPr/>
            </p:nvSpPr>
            <p:spPr>
              <a:xfrm>
                <a:off x="1415887" y="2436300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  <p:sp>
            <p:nvSpPr>
              <p:cNvPr id="89" name="Rectangle 88">
                <a:extLst>
                  <a:ext uri="{FF2B5EF4-FFF2-40B4-BE49-F238E27FC236}">
                    <a16:creationId xmlns:a16="http://schemas.microsoft.com/office/drawing/2014/main" id="{C1912F97-C2EB-4275-9791-4E9C64D9ACD9}"/>
                  </a:ext>
                </a:extLst>
              </p:cNvPr>
              <p:cNvSpPr/>
              <p:nvPr/>
            </p:nvSpPr>
            <p:spPr>
              <a:xfrm>
                <a:off x="1682240" y="2436300"/>
                <a:ext cx="589731" cy="545364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</p:grpSp>
        <p:grpSp>
          <p:nvGrpSpPr>
            <p:cNvPr id="82" name="Group 81">
              <a:extLst>
                <a:ext uri="{FF2B5EF4-FFF2-40B4-BE49-F238E27FC236}">
                  <a16:creationId xmlns:a16="http://schemas.microsoft.com/office/drawing/2014/main" id="{C16323A1-198A-411C-8014-263092240122}"/>
                </a:ext>
              </a:extLst>
            </p:cNvPr>
            <p:cNvGrpSpPr/>
            <p:nvPr/>
          </p:nvGrpSpPr>
          <p:grpSpPr>
            <a:xfrm>
              <a:off x="693506" y="260324"/>
              <a:ext cx="556881" cy="183753"/>
              <a:chOff x="898206" y="1403413"/>
              <a:chExt cx="1652778" cy="545364"/>
            </a:xfrm>
            <a:grpFill/>
          </p:grpSpPr>
          <p:sp>
            <p:nvSpPr>
              <p:cNvPr id="84" name="Oval 83">
                <a:extLst>
                  <a:ext uri="{FF2B5EF4-FFF2-40B4-BE49-F238E27FC236}">
                    <a16:creationId xmlns:a16="http://schemas.microsoft.com/office/drawing/2014/main" id="{EBCE0676-4E25-4F10-A07B-A47F92C7CF81}"/>
                  </a:ext>
                </a:extLst>
              </p:cNvPr>
              <p:cNvSpPr/>
              <p:nvPr/>
            </p:nvSpPr>
            <p:spPr>
              <a:xfrm>
                <a:off x="2005620" y="1403413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  <p:sp>
            <p:nvSpPr>
              <p:cNvPr id="85" name="Oval 84">
                <a:extLst>
                  <a:ext uri="{FF2B5EF4-FFF2-40B4-BE49-F238E27FC236}">
                    <a16:creationId xmlns:a16="http://schemas.microsoft.com/office/drawing/2014/main" id="{54E9DB86-0937-4D11-B319-669FF994439C}"/>
                  </a:ext>
                </a:extLst>
              </p:cNvPr>
              <p:cNvSpPr/>
              <p:nvPr/>
            </p:nvSpPr>
            <p:spPr>
              <a:xfrm>
                <a:off x="898206" y="1403413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  <p:sp>
            <p:nvSpPr>
              <p:cNvPr id="86" name="Rectangle 85">
                <a:extLst>
                  <a:ext uri="{FF2B5EF4-FFF2-40B4-BE49-F238E27FC236}">
                    <a16:creationId xmlns:a16="http://schemas.microsoft.com/office/drawing/2014/main" id="{3D6AB82A-C88A-4E42-B5CF-C687B3371284}"/>
                  </a:ext>
                </a:extLst>
              </p:cNvPr>
              <p:cNvSpPr/>
              <p:nvPr/>
            </p:nvSpPr>
            <p:spPr>
              <a:xfrm>
                <a:off x="1164538" y="1403413"/>
                <a:ext cx="1117581" cy="545364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</p:grpSp>
        <p:sp>
          <p:nvSpPr>
            <p:cNvPr id="103" name="Freeform: Shape 102">
              <a:extLst>
                <a:ext uri="{FF2B5EF4-FFF2-40B4-BE49-F238E27FC236}">
                  <a16:creationId xmlns:a16="http://schemas.microsoft.com/office/drawing/2014/main" id="{754DFB64-FFE8-4762-8BD2-6D5B67A56394}"/>
                </a:ext>
              </a:extLst>
            </p:cNvPr>
            <p:cNvSpPr/>
            <p:nvPr/>
          </p:nvSpPr>
          <p:spPr>
            <a:xfrm>
              <a:off x="0" y="260324"/>
              <a:ext cx="550424" cy="183006"/>
            </a:xfrm>
            <a:custGeom>
              <a:avLst/>
              <a:gdLst>
                <a:gd name="connsiteX0" fmla="*/ 0 w 550424"/>
                <a:gd name="connsiteY0" fmla="*/ 0 h 183006"/>
                <a:gd name="connsiteX1" fmla="*/ 456956 w 550424"/>
                <a:gd name="connsiteY1" fmla="*/ 0 h 183006"/>
                <a:gd name="connsiteX2" fmla="*/ 456956 w 550424"/>
                <a:gd name="connsiteY2" fmla="*/ 397 h 183006"/>
                <a:gd name="connsiteX3" fmla="*/ 458921 w 550424"/>
                <a:gd name="connsiteY3" fmla="*/ 0 h 183006"/>
                <a:gd name="connsiteX4" fmla="*/ 550424 w 550424"/>
                <a:gd name="connsiteY4" fmla="*/ 91503 h 183006"/>
                <a:gd name="connsiteX5" fmla="*/ 458921 w 550424"/>
                <a:gd name="connsiteY5" fmla="*/ 183006 h 183006"/>
                <a:gd name="connsiteX6" fmla="*/ 456956 w 550424"/>
                <a:gd name="connsiteY6" fmla="*/ 182609 h 183006"/>
                <a:gd name="connsiteX7" fmla="*/ 456956 w 550424"/>
                <a:gd name="connsiteY7" fmla="*/ 183006 h 183006"/>
                <a:gd name="connsiteX8" fmla="*/ 0 w 550424"/>
                <a:gd name="connsiteY8" fmla="*/ 183006 h 183006"/>
                <a:gd name="connsiteX9" fmla="*/ 0 w 550424"/>
                <a:gd name="connsiteY9" fmla="*/ 0 h 1830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50424" h="183006">
                  <a:moveTo>
                    <a:pt x="0" y="0"/>
                  </a:moveTo>
                  <a:lnTo>
                    <a:pt x="456956" y="0"/>
                  </a:lnTo>
                  <a:lnTo>
                    <a:pt x="456956" y="397"/>
                  </a:lnTo>
                  <a:lnTo>
                    <a:pt x="458921" y="0"/>
                  </a:lnTo>
                  <a:cubicBezTo>
                    <a:pt x="509457" y="0"/>
                    <a:pt x="550424" y="40967"/>
                    <a:pt x="550424" y="91503"/>
                  </a:cubicBezTo>
                  <a:cubicBezTo>
                    <a:pt x="550424" y="142039"/>
                    <a:pt x="509457" y="183006"/>
                    <a:pt x="458921" y="183006"/>
                  </a:cubicBezTo>
                  <a:lnTo>
                    <a:pt x="456956" y="182609"/>
                  </a:lnTo>
                  <a:lnTo>
                    <a:pt x="456956" y="183006"/>
                  </a:lnTo>
                  <a:lnTo>
                    <a:pt x="0" y="183006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/>
            </a:p>
          </p:txBody>
        </p:sp>
        <p:sp>
          <p:nvSpPr>
            <p:cNvPr id="106" name="Freeform: Shape 105">
              <a:extLst>
                <a:ext uri="{FF2B5EF4-FFF2-40B4-BE49-F238E27FC236}">
                  <a16:creationId xmlns:a16="http://schemas.microsoft.com/office/drawing/2014/main" id="{82D6BF1B-7B4E-4715-B3AA-0137D5565B61}"/>
                </a:ext>
              </a:extLst>
            </p:cNvPr>
            <p:cNvSpPr/>
            <p:nvPr/>
          </p:nvSpPr>
          <p:spPr>
            <a:xfrm>
              <a:off x="-1" y="608341"/>
              <a:ext cx="733596" cy="182880"/>
            </a:xfrm>
            <a:custGeom>
              <a:avLst/>
              <a:gdLst>
                <a:gd name="connsiteX0" fmla="*/ 0 w 733596"/>
                <a:gd name="connsiteY0" fmla="*/ 0 h 182880"/>
                <a:gd name="connsiteX1" fmla="*/ 642156 w 733596"/>
                <a:gd name="connsiteY1" fmla="*/ 0 h 182880"/>
                <a:gd name="connsiteX2" fmla="*/ 733596 w 733596"/>
                <a:gd name="connsiteY2" fmla="*/ 91440 h 182880"/>
                <a:gd name="connsiteX3" fmla="*/ 642156 w 733596"/>
                <a:gd name="connsiteY3" fmla="*/ 182880 h 182880"/>
                <a:gd name="connsiteX4" fmla="*/ 0 w 733596"/>
                <a:gd name="connsiteY4" fmla="*/ 182880 h 182880"/>
                <a:gd name="connsiteX5" fmla="*/ 0 w 733596"/>
                <a:gd name="connsiteY5" fmla="*/ 0 h 1828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33596" h="182880">
                  <a:moveTo>
                    <a:pt x="0" y="0"/>
                  </a:moveTo>
                  <a:lnTo>
                    <a:pt x="642156" y="0"/>
                  </a:lnTo>
                  <a:cubicBezTo>
                    <a:pt x="692657" y="0"/>
                    <a:pt x="733596" y="40939"/>
                    <a:pt x="733596" y="91440"/>
                  </a:cubicBezTo>
                  <a:cubicBezTo>
                    <a:pt x="733596" y="141941"/>
                    <a:pt x="692657" y="182880"/>
                    <a:pt x="642156" y="182880"/>
                  </a:cubicBezTo>
                  <a:lnTo>
                    <a:pt x="0" y="18288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/>
            </a:p>
          </p:txBody>
        </p:sp>
        <p:sp>
          <p:nvSpPr>
            <p:cNvPr id="112" name="Freeform: Shape 111">
              <a:extLst>
                <a:ext uri="{FF2B5EF4-FFF2-40B4-BE49-F238E27FC236}">
                  <a16:creationId xmlns:a16="http://schemas.microsoft.com/office/drawing/2014/main" id="{DFFECD78-AD3E-430A-825C-361F3F0A6DF1}"/>
                </a:ext>
              </a:extLst>
            </p:cNvPr>
            <p:cNvSpPr/>
            <p:nvPr/>
          </p:nvSpPr>
          <p:spPr>
            <a:xfrm>
              <a:off x="0" y="952508"/>
              <a:ext cx="786403" cy="183006"/>
            </a:xfrm>
            <a:custGeom>
              <a:avLst/>
              <a:gdLst>
                <a:gd name="connsiteX0" fmla="*/ 0 w 786403"/>
                <a:gd name="connsiteY0" fmla="*/ 0 h 183006"/>
                <a:gd name="connsiteX1" fmla="*/ 692936 w 786403"/>
                <a:gd name="connsiteY1" fmla="*/ 0 h 183006"/>
                <a:gd name="connsiteX2" fmla="*/ 692936 w 786403"/>
                <a:gd name="connsiteY2" fmla="*/ 397 h 183006"/>
                <a:gd name="connsiteX3" fmla="*/ 694900 w 786403"/>
                <a:gd name="connsiteY3" fmla="*/ 0 h 183006"/>
                <a:gd name="connsiteX4" fmla="*/ 786403 w 786403"/>
                <a:gd name="connsiteY4" fmla="*/ 91503 h 183006"/>
                <a:gd name="connsiteX5" fmla="*/ 694900 w 786403"/>
                <a:gd name="connsiteY5" fmla="*/ 183006 h 183006"/>
                <a:gd name="connsiteX6" fmla="*/ 692936 w 786403"/>
                <a:gd name="connsiteY6" fmla="*/ 182610 h 183006"/>
                <a:gd name="connsiteX7" fmla="*/ 692936 w 786403"/>
                <a:gd name="connsiteY7" fmla="*/ 183006 h 183006"/>
                <a:gd name="connsiteX8" fmla="*/ 0 w 786403"/>
                <a:gd name="connsiteY8" fmla="*/ 183006 h 183006"/>
                <a:gd name="connsiteX9" fmla="*/ 0 w 786403"/>
                <a:gd name="connsiteY9" fmla="*/ 0 h 1830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786403" h="183006">
                  <a:moveTo>
                    <a:pt x="0" y="0"/>
                  </a:moveTo>
                  <a:lnTo>
                    <a:pt x="692936" y="0"/>
                  </a:lnTo>
                  <a:lnTo>
                    <a:pt x="692936" y="397"/>
                  </a:lnTo>
                  <a:lnTo>
                    <a:pt x="694900" y="0"/>
                  </a:lnTo>
                  <a:cubicBezTo>
                    <a:pt x="745436" y="0"/>
                    <a:pt x="786403" y="40967"/>
                    <a:pt x="786403" y="91503"/>
                  </a:cubicBezTo>
                  <a:cubicBezTo>
                    <a:pt x="786403" y="142039"/>
                    <a:pt x="745436" y="183006"/>
                    <a:pt x="694900" y="183006"/>
                  </a:cubicBezTo>
                  <a:lnTo>
                    <a:pt x="692936" y="182610"/>
                  </a:lnTo>
                  <a:lnTo>
                    <a:pt x="692936" y="183006"/>
                  </a:lnTo>
                  <a:lnTo>
                    <a:pt x="0" y="183006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/>
            </a:p>
          </p:txBody>
        </p:sp>
        <p:sp>
          <p:nvSpPr>
            <p:cNvPr id="115" name="Freeform: Shape 114">
              <a:extLst>
                <a:ext uri="{FF2B5EF4-FFF2-40B4-BE49-F238E27FC236}">
                  <a16:creationId xmlns:a16="http://schemas.microsoft.com/office/drawing/2014/main" id="{01864E2F-2224-4B8D-A54C-010E70A5006D}"/>
                </a:ext>
              </a:extLst>
            </p:cNvPr>
            <p:cNvSpPr/>
            <p:nvPr/>
          </p:nvSpPr>
          <p:spPr>
            <a:xfrm>
              <a:off x="-1" y="1304902"/>
              <a:ext cx="733596" cy="182880"/>
            </a:xfrm>
            <a:custGeom>
              <a:avLst/>
              <a:gdLst>
                <a:gd name="connsiteX0" fmla="*/ 0 w 733596"/>
                <a:gd name="connsiteY0" fmla="*/ 0 h 182880"/>
                <a:gd name="connsiteX1" fmla="*/ 642156 w 733596"/>
                <a:gd name="connsiteY1" fmla="*/ 0 h 182880"/>
                <a:gd name="connsiteX2" fmla="*/ 733596 w 733596"/>
                <a:gd name="connsiteY2" fmla="*/ 91440 h 182880"/>
                <a:gd name="connsiteX3" fmla="*/ 642156 w 733596"/>
                <a:gd name="connsiteY3" fmla="*/ 182880 h 182880"/>
                <a:gd name="connsiteX4" fmla="*/ 0 w 733596"/>
                <a:gd name="connsiteY4" fmla="*/ 182880 h 182880"/>
                <a:gd name="connsiteX5" fmla="*/ 0 w 733596"/>
                <a:gd name="connsiteY5" fmla="*/ 0 h 1828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33596" h="182880">
                  <a:moveTo>
                    <a:pt x="0" y="0"/>
                  </a:moveTo>
                  <a:lnTo>
                    <a:pt x="642156" y="0"/>
                  </a:lnTo>
                  <a:cubicBezTo>
                    <a:pt x="692657" y="0"/>
                    <a:pt x="733596" y="40939"/>
                    <a:pt x="733596" y="91440"/>
                  </a:cubicBezTo>
                  <a:cubicBezTo>
                    <a:pt x="733596" y="141941"/>
                    <a:pt x="692657" y="182880"/>
                    <a:pt x="642156" y="182880"/>
                  </a:cubicBezTo>
                  <a:lnTo>
                    <a:pt x="0" y="18288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/>
            </a:p>
          </p:txBody>
        </p:sp>
        <p:sp>
          <p:nvSpPr>
            <p:cNvPr id="118" name="Freeform: Shape 117">
              <a:extLst>
                <a:ext uri="{FF2B5EF4-FFF2-40B4-BE49-F238E27FC236}">
                  <a16:creationId xmlns:a16="http://schemas.microsoft.com/office/drawing/2014/main" id="{8652EA3D-B91A-4960-BC33-8380D943F8F9}"/>
                </a:ext>
              </a:extLst>
            </p:cNvPr>
            <p:cNvSpPr/>
            <p:nvPr/>
          </p:nvSpPr>
          <p:spPr>
            <a:xfrm>
              <a:off x="0" y="1649603"/>
              <a:ext cx="550424" cy="183006"/>
            </a:xfrm>
            <a:custGeom>
              <a:avLst/>
              <a:gdLst>
                <a:gd name="connsiteX0" fmla="*/ 0 w 550424"/>
                <a:gd name="connsiteY0" fmla="*/ 0 h 183006"/>
                <a:gd name="connsiteX1" fmla="*/ 456956 w 550424"/>
                <a:gd name="connsiteY1" fmla="*/ 0 h 183006"/>
                <a:gd name="connsiteX2" fmla="*/ 456956 w 550424"/>
                <a:gd name="connsiteY2" fmla="*/ 397 h 183006"/>
                <a:gd name="connsiteX3" fmla="*/ 458921 w 550424"/>
                <a:gd name="connsiteY3" fmla="*/ 0 h 183006"/>
                <a:gd name="connsiteX4" fmla="*/ 550424 w 550424"/>
                <a:gd name="connsiteY4" fmla="*/ 91503 h 183006"/>
                <a:gd name="connsiteX5" fmla="*/ 458921 w 550424"/>
                <a:gd name="connsiteY5" fmla="*/ 183006 h 183006"/>
                <a:gd name="connsiteX6" fmla="*/ 456956 w 550424"/>
                <a:gd name="connsiteY6" fmla="*/ 182609 h 183006"/>
                <a:gd name="connsiteX7" fmla="*/ 456956 w 550424"/>
                <a:gd name="connsiteY7" fmla="*/ 183006 h 183006"/>
                <a:gd name="connsiteX8" fmla="*/ 0 w 550424"/>
                <a:gd name="connsiteY8" fmla="*/ 183006 h 183006"/>
                <a:gd name="connsiteX9" fmla="*/ 0 w 550424"/>
                <a:gd name="connsiteY9" fmla="*/ 0 h 1830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50424" h="183006">
                  <a:moveTo>
                    <a:pt x="0" y="0"/>
                  </a:moveTo>
                  <a:lnTo>
                    <a:pt x="456956" y="0"/>
                  </a:lnTo>
                  <a:lnTo>
                    <a:pt x="456956" y="397"/>
                  </a:lnTo>
                  <a:lnTo>
                    <a:pt x="458921" y="0"/>
                  </a:lnTo>
                  <a:cubicBezTo>
                    <a:pt x="509457" y="0"/>
                    <a:pt x="550424" y="40967"/>
                    <a:pt x="550424" y="91503"/>
                  </a:cubicBezTo>
                  <a:cubicBezTo>
                    <a:pt x="550424" y="142039"/>
                    <a:pt x="509457" y="183006"/>
                    <a:pt x="458921" y="183006"/>
                  </a:cubicBezTo>
                  <a:lnTo>
                    <a:pt x="456956" y="182609"/>
                  </a:lnTo>
                  <a:lnTo>
                    <a:pt x="456956" y="183006"/>
                  </a:lnTo>
                  <a:lnTo>
                    <a:pt x="0" y="183006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/>
            </a:p>
          </p:txBody>
        </p:sp>
      </p:grpSp>
      <p:sp>
        <p:nvSpPr>
          <p:cNvPr id="56" name="Slide Number Placeholder 5">
            <a:extLst>
              <a:ext uri="{FF2B5EF4-FFF2-40B4-BE49-F238E27FC236}">
                <a16:creationId xmlns:a16="http://schemas.microsoft.com/office/drawing/2014/main" id="{030699F5-6B57-4BC7-B774-B8F85B96214D}"/>
              </a:ext>
            </a:extLst>
          </p:cNvPr>
          <p:cNvSpPr txBox="1">
            <a:spLocks/>
          </p:cNvSpPr>
          <p:nvPr/>
        </p:nvSpPr>
        <p:spPr bwMode="white">
          <a:xfrm>
            <a:off x="11723254" y="6544746"/>
            <a:ext cx="3530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rgbClr val="959CA0"/>
                </a:solidFill>
              </a:rPr>
              <a:t>‹#›</a:t>
            </a:fld>
            <a:endParaRPr lang="en-US" sz="800" b="0">
              <a:solidFill>
                <a:srgbClr val="959CA0"/>
              </a:solidFill>
            </a:endParaRPr>
          </a:p>
        </p:txBody>
      </p:sp>
      <p:sp>
        <p:nvSpPr>
          <p:cNvPr id="34" name="Content Placeholder 2">
            <a:extLst>
              <a:ext uri="{FF2B5EF4-FFF2-40B4-BE49-F238E27FC236}">
                <a16:creationId xmlns:a16="http://schemas.microsoft.com/office/drawing/2014/main" id="{A38DDCEC-B402-6B40-82F9-F72F5C447EC7}"/>
              </a:ext>
            </a:extLst>
          </p:cNvPr>
          <p:cNvSpPr>
            <a:spLocks noGrp="1"/>
          </p:cNvSpPr>
          <p:nvPr>
            <p:ph idx="10" hasCustomPrompt="1"/>
          </p:nvPr>
        </p:nvSpPr>
        <p:spPr>
          <a:xfrm>
            <a:off x="6679523" y="1561892"/>
            <a:ext cx="4446878" cy="4712626"/>
          </a:xfrm>
          <a:prstGeom prst="rect">
            <a:avLst/>
          </a:prstGeom>
        </p:spPr>
        <p:txBody>
          <a:bodyPr/>
          <a:lstStyle>
            <a:lvl1pPr marL="182880" indent="-182880">
              <a:lnSpc>
                <a:spcPct val="100000"/>
              </a:lnSpc>
              <a:spcBef>
                <a:spcPts val="2000"/>
              </a:spcBef>
              <a:buClr>
                <a:schemeClr val="accent1"/>
              </a:buClr>
              <a:buFont typeface="System Font Regular"/>
              <a:buChar char="+"/>
              <a:defRPr sz="1800">
                <a:solidFill>
                  <a:schemeClr val="tx1"/>
                </a:solidFill>
              </a:defRPr>
            </a:lvl1pPr>
            <a:lvl2pPr marL="365760" indent="-182880">
              <a:lnSpc>
                <a:spcPct val="100000"/>
              </a:lnSpc>
              <a:spcBef>
                <a:spcPts val="8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</a:defRPr>
            </a:lvl2pPr>
            <a:lvl3pPr marL="548640" indent="-182880">
              <a:lnSpc>
                <a:spcPct val="100000"/>
              </a:lnSpc>
              <a:spcBef>
                <a:spcPts val="800"/>
              </a:spcBef>
              <a:buClrTx/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31520" indent="-182880">
              <a:lnSpc>
                <a:spcPct val="100000"/>
              </a:lnSpc>
              <a:spcBef>
                <a:spcPts val="800"/>
              </a:spcBef>
              <a:buClrTx/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82880">
              <a:lnSpc>
                <a:spcPct val="100000"/>
              </a:lnSpc>
              <a:spcBef>
                <a:spcPts val="800"/>
              </a:spcBef>
              <a:buClrTx/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Arial 18pt bullet level 1</a:t>
            </a:r>
          </a:p>
          <a:p>
            <a:pPr lvl="1"/>
            <a:r>
              <a:rPr lang="en-US"/>
              <a:t>Arial 16pt bullet level 2</a:t>
            </a:r>
          </a:p>
          <a:p>
            <a:pPr lvl="2"/>
            <a:r>
              <a:rPr lang="en-US"/>
              <a:t>Arial 16pt bullet level 3</a:t>
            </a:r>
          </a:p>
          <a:p>
            <a:pPr lvl="3"/>
            <a:r>
              <a:rPr lang="en-US"/>
              <a:t>Arial 16pt bullet level 4</a:t>
            </a:r>
          </a:p>
          <a:p>
            <a:pPr lvl="4"/>
            <a:r>
              <a:rPr lang="en-US"/>
              <a:t>Arial 16pt bullet level 5</a:t>
            </a:r>
          </a:p>
          <a:p>
            <a:pPr lvl="0"/>
            <a:r>
              <a:rPr lang="en-US"/>
              <a:t>Arial 18pt bullet level 1</a:t>
            </a:r>
          </a:p>
          <a:p>
            <a:pPr lvl="1"/>
            <a:r>
              <a:rPr lang="en-US"/>
              <a:t>Arial 16pt bullet level 2</a:t>
            </a:r>
          </a:p>
          <a:p>
            <a:pPr lvl="2"/>
            <a:r>
              <a:rPr lang="en-US"/>
              <a:t>Arial 16pt bullet level 3</a:t>
            </a:r>
          </a:p>
          <a:p>
            <a:pPr lvl="3"/>
            <a:r>
              <a:rPr lang="en-US"/>
              <a:t>Arial 16pt bullet level 4</a:t>
            </a:r>
          </a:p>
          <a:p>
            <a:pPr lvl="4"/>
            <a:r>
              <a:rPr lang="en-US"/>
              <a:t>Arial 16pt bullet level 5</a:t>
            </a:r>
          </a:p>
        </p:txBody>
      </p:sp>
      <p:pic>
        <p:nvPicPr>
          <p:cNvPr id="35" name="Graphic 34">
            <a:extLst>
              <a:ext uri="{FF2B5EF4-FFF2-40B4-BE49-F238E27FC236}">
                <a16:creationId xmlns:a16="http://schemas.microsoft.com/office/drawing/2014/main" id="{9C8C25AB-04B1-1747-A689-D16DAAB4CDA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376299" y="6535995"/>
            <a:ext cx="1143000" cy="215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2733203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alf Photo Left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8">
            <a:extLst>
              <a:ext uri="{FF2B5EF4-FFF2-40B4-BE49-F238E27FC236}">
                <a16:creationId xmlns:a16="http://schemas.microsoft.com/office/drawing/2014/main" id="{07A7498E-6C5A-334A-934D-1310A399752F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6108192" cy="6858000"/>
          </a:xfrm>
          <a:prstGeom prst="rect">
            <a:avLst/>
          </a:prstGeom>
          <a:blipFill>
            <a:blip r:embed="rId2"/>
            <a:stretch>
              <a:fillRect l="1"/>
            </a:stretch>
          </a:blipFill>
          <a:effectLst/>
        </p:spPr>
        <p:txBody>
          <a:bodyPr anchor="ctr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6000" b="1">
                <a:solidFill>
                  <a:srgbClr val="DA291C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57" name="Content Placeholder 2">
            <a:extLst>
              <a:ext uri="{FF2B5EF4-FFF2-40B4-BE49-F238E27FC236}">
                <a16:creationId xmlns:a16="http://schemas.microsoft.com/office/drawing/2014/main" id="{BB33977D-340C-C244-98B1-44E8B03BE8F1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6503691" y="2079330"/>
            <a:ext cx="5219563" cy="4201154"/>
          </a:xfrm>
          <a:prstGeom prst="rect">
            <a:avLst/>
          </a:prstGeom>
        </p:spPr>
        <p:txBody>
          <a:bodyPr/>
          <a:lstStyle>
            <a:lvl1pPr marL="182880" indent="-18288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6576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4864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3152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8288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Arial 16pt bullet level 1</a:t>
            </a:r>
          </a:p>
          <a:p>
            <a:pPr lvl="1"/>
            <a:r>
              <a:rPr lang="en-US"/>
              <a:t>Arial 16pt bullet level 2</a:t>
            </a:r>
          </a:p>
          <a:p>
            <a:pPr lvl="2"/>
            <a:r>
              <a:rPr lang="en-US"/>
              <a:t>Arial 16pt bullet level 3</a:t>
            </a:r>
          </a:p>
          <a:p>
            <a:pPr lvl="3"/>
            <a:r>
              <a:rPr lang="en-US"/>
              <a:t>Arial 16pt bullet level 4</a:t>
            </a:r>
          </a:p>
          <a:p>
            <a:pPr lvl="4"/>
            <a:r>
              <a:rPr lang="en-US"/>
              <a:t>Arial 16pt bullet level 5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6485711" y="1079592"/>
            <a:ext cx="5237542" cy="768263"/>
          </a:xfrm>
          <a:prstGeom prst="rect">
            <a:avLst/>
          </a:prstGeom>
        </p:spPr>
        <p:txBody>
          <a:bodyPr anchor="b" anchorCtr="0"/>
          <a:lstStyle>
            <a:lvl1pPr>
              <a:defRPr sz="2000" b="1">
                <a:solidFill>
                  <a:schemeClr val="tx1"/>
                </a:solidFill>
              </a:defRPr>
            </a:lvl1pPr>
          </a:lstStyle>
          <a:p>
            <a:r>
              <a:rPr lang="en-US"/>
              <a:t>Headlines are 20pt Arial Bold sentence case</a:t>
            </a:r>
          </a:p>
        </p:txBody>
      </p:sp>
      <p:sp>
        <p:nvSpPr>
          <p:cNvPr id="59" name="Footer Placeholder 4">
            <a:extLst>
              <a:ext uri="{FF2B5EF4-FFF2-40B4-BE49-F238E27FC236}">
                <a16:creationId xmlns:a16="http://schemas.microsoft.com/office/drawing/2014/main" id="{7F2D66EE-4D77-E145-9576-4E9D03CE46F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6485710" y="6387858"/>
            <a:ext cx="3184467" cy="338087"/>
          </a:xfrm>
          <a:prstGeom prst="rect">
            <a:avLst/>
          </a:prstGeom>
          <a:noFill/>
        </p:spPr>
        <p:txBody>
          <a:bodyPr vert="horz" lIns="91440" tIns="45720" rIns="91440" bIns="45720" rtlCol="0" anchor="b" anchorCtr="0"/>
          <a:lstStyle>
            <a:lvl1pPr algn="l">
              <a:defRPr sz="8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</a:lstStyle>
          <a:p>
            <a:endParaRPr lang="en-US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F54E4B32-E13F-4B83-8982-BF8073A1DC94}"/>
              </a:ext>
            </a:extLst>
          </p:cNvPr>
          <p:cNvSpPr txBox="1">
            <a:spLocks/>
          </p:cNvSpPr>
          <p:nvPr/>
        </p:nvSpPr>
        <p:spPr bwMode="white">
          <a:xfrm>
            <a:off x="11723254" y="6544746"/>
            <a:ext cx="3530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rgbClr val="959CA0"/>
                </a:solidFill>
              </a:rPr>
              <a:t>‹#›</a:t>
            </a:fld>
            <a:endParaRPr lang="en-US" sz="800" b="0">
              <a:solidFill>
                <a:srgbClr val="959CA0"/>
              </a:solidFill>
            </a:endParaRPr>
          </a:p>
        </p:txBody>
      </p:sp>
      <p:sp>
        <p:nvSpPr>
          <p:cNvPr id="11" name="Text Placeholder 21">
            <a:extLst>
              <a:ext uri="{FF2B5EF4-FFF2-40B4-BE49-F238E27FC236}">
                <a16:creationId xmlns:a16="http://schemas.microsoft.com/office/drawing/2014/main" id="{0A3F7CAF-2DCF-AE44-8B02-C3A9F59943C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0" y="6969760"/>
            <a:ext cx="8016949" cy="302910"/>
          </a:xfrm>
          <a:prstGeom prst="rect">
            <a:avLst/>
          </a:prstGeom>
          <a:solidFill>
            <a:srgbClr val="DA291C"/>
          </a:solidFill>
        </p:spPr>
        <p:txBody>
          <a:bodyPr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400"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NOTE: All photos used in this layout must be cropped to 6.68” wide X 7.5” tall at 150dpi resolution</a:t>
            </a: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BB9E4976-132F-F449-8124-B504F37C987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376299" y="6535995"/>
            <a:ext cx="1143000" cy="215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1738623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alf Photo Right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icture Placeholder 8">
            <a:extLst>
              <a:ext uri="{FF2B5EF4-FFF2-40B4-BE49-F238E27FC236}">
                <a16:creationId xmlns:a16="http://schemas.microsoft.com/office/drawing/2014/main" id="{08ABCCBF-3981-0241-8287-3903E6249049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083808" y="0"/>
            <a:ext cx="6108192" cy="6858000"/>
          </a:xfrm>
          <a:prstGeom prst="rect">
            <a:avLst/>
          </a:prstGeom>
          <a:blipFill>
            <a:blip r:embed="rId2"/>
            <a:stretch>
              <a:fillRect l="1"/>
            </a:stretch>
          </a:blipFill>
          <a:effectLst/>
        </p:spPr>
        <p:txBody>
          <a:bodyPr anchor="ctr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6000" b="1">
                <a:solidFill>
                  <a:srgbClr val="DA291C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F54E4B32-E13F-4B83-8982-BF8073A1DC94}"/>
              </a:ext>
            </a:extLst>
          </p:cNvPr>
          <p:cNvSpPr txBox="1">
            <a:spLocks/>
          </p:cNvSpPr>
          <p:nvPr/>
        </p:nvSpPr>
        <p:spPr bwMode="white">
          <a:xfrm>
            <a:off x="11723254" y="6544746"/>
            <a:ext cx="3530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chemeClr val="bg1"/>
                </a:solidFill>
              </a:rPr>
              <a:t>‹#›</a:t>
            </a:fld>
            <a:endParaRPr lang="en-US" sz="800" b="0">
              <a:solidFill>
                <a:schemeClr val="bg1"/>
              </a:solidFill>
            </a:endParaRPr>
          </a:p>
        </p:txBody>
      </p:sp>
      <p:sp>
        <p:nvSpPr>
          <p:cNvPr id="11" name="Text Placeholder 21">
            <a:extLst>
              <a:ext uri="{FF2B5EF4-FFF2-40B4-BE49-F238E27FC236}">
                <a16:creationId xmlns:a16="http://schemas.microsoft.com/office/drawing/2014/main" id="{0A3F7CAF-2DCF-AE44-8B02-C3A9F59943C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0" y="6969760"/>
            <a:ext cx="8016949" cy="302910"/>
          </a:xfrm>
          <a:prstGeom prst="rect">
            <a:avLst/>
          </a:prstGeom>
          <a:solidFill>
            <a:srgbClr val="DA291C"/>
          </a:solidFill>
        </p:spPr>
        <p:txBody>
          <a:bodyPr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400"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NOTE: All photos used in this layout must be cropped to 6.68” wide X 7.5” tall at 150dpi resolution</a:t>
            </a: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DB8F1DF2-27A3-8249-8796-6A002E0D8C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4694" y="1079592"/>
            <a:ext cx="5237543" cy="768263"/>
          </a:xfrm>
          <a:prstGeom prst="rect">
            <a:avLst/>
          </a:prstGeom>
        </p:spPr>
        <p:txBody>
          <a:bodyPr anchor="b" anchorCtr="0"/>
          <a:lstStyle>
            <a:lvl1pPr>
              <a:defRPr sz="2000" b="1">
                <a:solidFill>
                  <a:schemeClr val="tx1"/>
                </a:solidFill>
              </a:defRPr>
            </a:lvl1pPr>
          </a:lstStyle>
          <a:p>
            <a:r>
              <a:rPr lang="en-US"/>
              <a:t>Headlines are 20pt Arial Bold sentence case</a:t>
            </a:r>
          </a:p>
        </p:txBody>
      </p:sp>
      <p:sp>
        <p:nvSpPr>
          <p:cNvPr id="15" name="Footer Placeholder 4">
            <a:extLst>
              <a:ext uri="{FF2B5EF4-FFF2-40B4-BE49-F238E27FC236}">
                <a16:creationId xmlns:a16="http://schemas.microsoft.com/office/drawing/2014/main" id="{9DD56D8B-7A45-7247-92A2-DECA0DA4B2B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84694" y="6387858"/>
            <a:ext cx="5237543" cy="338087"/>
          </a:xfrm>
          <a:prstGeom prst="rect">
            <a:avLst/>
          </a:prstGeom>
          <a:noFill/>
        </p:spPr>
        <p:txBody>
          <a:bodyPr vert="horz" lIns="91440" tIns="45720" rIns="91440" bIns="45720" rtlCol="0" anchor="b" anchorCtr="0"/>
          <a:lstStyle>
            <a:lvl1pPr algn="l">
              <a:defRPr sz="8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</a:lstStyle>
          <a:p>
            <a:endParaRPr lang="en-US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04B5D617-8638-9248-B078-99CA6D58FCAF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402674" y="2079330"/>
            <a:ext cx="5219563" cy="4201154"/>
          </a:xfrm>
          <a:prstGeom prst="rect">
            <a:avLst/>
          </a:prstGeom>
        </p:spPr>
        <p:txBody>
          <a:bodyPr/>
          <a:lstStyle>
            <a:lvl1pPr marL="182880" indent="-18288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6576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4864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3152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8288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Arial 16pt bullet level 1</a:t>
            </a:r>
          </a:p>
          <a:p>
            <a:pPr lvl="1"/>
            <a:r>
              <a:rPr lang="en-US"/>
              <a:t>Arial 16pt bullet level 2</a:t>
            </a:r>
          </a:p>
          <a:p>
            <a:pPr lvl="2"/>
            <a:r>
              <a:rPr lang="en-US"/>
              <a:t>Arial 16pt bullet level 3</a:t>
            </a:r>
          </a:p>
          <a:p>
            <a:pPr lvl="3"/>
            <a:r>
              <a:rPr lang="en-US"/>
              <a:t>Arial 16pt bullet level 4</a:t>
            </a:r>
          </a:p>
          <a:p>
            <a:pPr lvl="4"/>
            <a:r>
              <a:rPr lang="en-US"/>
              <a:t>Arial 16pt bullet level 5</a:t>
            </a:r>
          </a:p>
        </p:txBody>
      </p:sp>
    </p:spTree>
    <p:extLst>
      <p:ext uri="{BB962C8B-B14F-4D97-AF65-F5344CB8AC3E}">
        <p14:creationId xmlns:p14="http://schemas.microsoft.com/office/powerpoint/2010/main" val="219680806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Photo Left - IQVI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8">
            <a:extLst>
              <a:ext uri="{FF2B5EF4-FFF2-40B4-BE49-F238E27FC236}">
                <a16:creationId xmlns:a16="http://schemas.microsoft.com/office/drawing/2014/main" id="{1EBA7B86-AF66-5642-80C5-A8A4D9FEB9C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  <a:prstGeom prst="rect">
            <a:avLst/>
          </a:prstGeom>
          <a:blipFill dpi="0" rotWithShape="1">
            <a:blip r:embed="rId2"/>
            <a:srcRect/>
            <a:stretch>
              <a:fillRect/>
            </a:stretch>
          </a:blipFill>
          <a:effectLst/>
        </p:spPr>
        <p:txBody>
          <a:bodyPr anchor="ctr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6000" b="1">
                <a:solidFill>
                  <a:srgbClr val="DA291C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43B40F6B-0093-4E4E-93B6-688B272C108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white">
          <a:xfrm>
            <a:off x="1044112" y="0"/>
            <a:ext cx="4114799" cy="2971800"/>
          </a:xfrm>
          <a:prstGeom prst="rect">
            <a:avLst/>
          </a:prstGeom>
          <a:solidFill>
            <a:srgbClr val="F4F4F4"/>
          </a:solidFill>
          <a:ln>
            <a:noFill/>
          </a:ln>
        </p:spPr>
        <p:txBody>
          <a:bodyPr lIns="274320" anchor="ctr" anchorCtr="0"/>
          <a:lstStyle>
            <a:lvl1pPr>
              <a:lnSpc>
                <a:spcPct val="100000"/>
              </a:lnSpc>
              <a:defRPr sz="3600" b="1">
                <a:solidFill>
                  <a:schemeClr val="accent1"/>
                </a:solidFill>
              </a:defRPr>
            </a:lvl1pPr>
          </a:lstStyle>
          <a:p>
            <a:r>
              <a:rPr lang="en-US"/>
              <a:t>Photo dividers with text on left 36pt Arial Bold sentence case</a:t>
            </a: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7D62E9D9-E5C1-F84F-9915-F25709579CD2}"/>
              </a:ext>
            </a:extLst>
          </p:cNvPr>
          <p:cNvSpPr txBox="1">
            <a:spLocks/>
          </p:cNvSpPr>
          <p:nvPr/>
        </p:nvSpPr>
        <p:spPr bwMode="white">
          <a:xfrm>
            <a:off x="11708455" y="6548145"/>
            <a:ext cx="3678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chemeClr val="bg1"/>
                </a:solidFill>
              </a:rPr>
              <a:t>‹#›</a:t>
            </a:fld>
            <a:endParaRPr lang="en-US" sz="800" b="0">
              <a:solidFill>
                <a:schemeClr val="bg1"/>
              </a:solidFill>
            </a:endParaRPr>
          </a:p>
        </p:txBody>
      </p:sp>
      <p:sp>
        <p:nvSpPr>
          <p:cNvPr id="6" name="Text Placeholder 21">
            <a:extLst>
              <a:ext uri="{FF2B5EF4-FFF2-40B4-BE49-F238E27FC236}">
                <a16:creationId xmlns:a16="http://schemas.microsoft.com/office/drawing/2014/main" id="{72E2FA7F-1AB5-4252-BF66-00A17FC6F0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0" y="6969760"/>
            <a:ext cx="8016949" cy="302910"/>
          </a:xfrm>
          <a:prstGeom prst="rect">
            <a:avLst/>
          </a:prstGeom>
          <a:solidFill>
            <a:srgbClr val="DA291C"/>
          </a:solidFill>
        </p:spPr>
        <p:txBody>
          <a:bodyPr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400"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NOTE: All photos used in this layout must be cropped to 13.33” wide X 7.5” tall at 150dpi resolution</a:t>
            </a:r>
          </a:p>
        </p:txBody>
      </p:sp>
    </p:spTree>
    <p:extLst>
      <p:ext uri="{BB962C8B-B14F-4D97-AF65-F5344CB8AC3E}">
        <p14:creationId xmlns:p14="http://schemas.microsoft.com/office/powerpoint/2010/main" val="164803960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Photo Right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8">
            <a:extLst>
              <a:ext uri="{FF2B5EF4-FFF2-40B4-BE49-F238E27FC236}">
                <a16:creationId xmlns:a16="http://schemas.microsoft.com/office/drawing/2014/main" id="{D8C96C06-AFDA-BB43-A8AD-9713C5A7978C}"/>
              </a:ext>
            </a:extLst>
          </p:cNvPr>
          <p:cNvSpPr>
            <a:spLocks noGrp="1" noChangeAspect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  <a:prstGeom prst="rect">
            <a:avLst/>
          </a:prstGeom>
          <a:blipFill dpi="0" rotWithShape="1">
            <a:blip r:embed="rId2"/>
            <a:srcRect/>
            <a:stretch>
              <a:fillRect/>
            </a:stretch>
          </a:blipFill>
          <a:effectLst/>
        </p:spPr>
        <p:txBody>
          <a:bodyPr anchor="ctr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6000" b="1">
                <a:solidFill>
                  <a:srgbClr val="DA291C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9EE2810-5A25-4006-AC1A-C7724FC47010}"/>
              </a:ext>
            </a:extLst>
          </p:cNvPr>
          <p:cNvSpPr txBox="1">
            <a:spLocks/>
          </p:cNvSpPr>
          <p:nvPr/>
        </p:nvSpPr>
        <p:spPr bwMode="white">
          <a:xfrm>
            <a:off x="11708455" y="6548145"/>
            <a:ext cx="3678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chemeClr val="bg1"/>
                </a:solidFill>
              </a:rPr>
              <a:t>‹#›</a:t>
            </a:fld>
            <a:endParaRPr lang="en-US" sz="800" b="0">
              <a:solidFill>
                <a:schemeClr val="bg1"/>
              </a:solidFill>
            </a:endParaRP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0E374672-D2D3-4DCE-8649-950F3EAEDBB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white">
          <a:xfrm>
            <a:off x="7033089" y="0"/>
            <a:ext cx="4114799" cy="2971800"/>
          </a:xfrm>
          <a:prstGeom prst="rect">
            <a:avLst/>
          </a:prstGeom>
          <a:solidFill>
            <a:srgbClr val="F4F4F4"/>
          </a:solidFill>
        </p:spPr>
        <p:txBody>
          <a:bodyPr lIns="274320" anchor="ctr" anchorCtr="0"/>
          <a:lstStyle>
            <a:lvl1pPr>
              <a:lnSpc>
                <a:spcPct val="100000"/>
              </a:lnSpc>
              <a:defRPr sz="3600" b="1">
                <a:solidFill>
                  <a:schemeClr val="accent1"/>
                </a:solidFill>
              </a:defRPr>
            </a:lvl1pPr>
          </a:lstStyle>
          <a:p>
            <a:r>
              <a:rPr lang="en-US"/>
              <a:t>Photo dividers with text on right 36pt Arial Bold sentence case</a:t>
            </a:r>
          </a:p>
        </p:txBody>
      </p:sp>
      <p:sp>
        <p:nvSpPr>
          <p:cNvPr id="7" name="Text Placeholder 21">
            <a:extLst>
              <a:ext uri="{FF2B5EF4-FFF2-40B4-BE49-F238E27FC236}">
                <a16:creationId xmlns:a16="http://schemas.microsoft.com/office/drawing/2014/main" id="{24BBE5E7-5805-45C0-A8D8-6F96062DEC2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0" y="6969760"/>
            <a:ext cx="8016949" cy="302910"/>
          </a:xfrm>
          <a:prstGeom prst="rect">
            <a:avLst/>
          </a:prstGeom>
          <a:solidFill>
            <a:srgbClr val="DA291C"/>
          </a:solidFill>
        </p:spPr>
        <p:txBody>
          <a:bodyPr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400"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NOTE: All photos used in this layout must be cropped to 13.33” wide X 7.5” tall at 150dpi resolution</a:t>
            </a:r>
          </a:p>
        </p:txBody>
      </p:sp>
    </p:spTree>
    <p:extLst>
      <p:ext uri="{BB962C8B-B14F-4D97-AF65-F5344CB8AC3E}">
        <p14:creationId xmlns:p14="http://schemas.microsoft.com/office/powerpoint/2010/main" val="208855618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2024-01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: Top Corners Rounded 4">
            <a:extLst>
              <a:ext uri="{FF2B5EF4-FFF2-40B4-BE49-F238E27FC236}">
                <a16:creationId xmlns:a16="http://schemas.microsoft.com/office/drawing/2014/main" id="{C7CB88CE-AFAB-3162-5EFA-DACFAECFC82B}"/>
              </a:ext>
            </a:extLst>
          </p:cNvPr>
          <p:cNvSpPr/>
          <p:nvPr userDrawn="1"/>
        </p:nvSpPr>
        <p:spPr>
          <a:xfrm rot="5400000" flipH="1">
            <a:off x="1141342" y="704015"/>
            <a:ext cx="877958" cy="3160642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err="1"/>
          </a:p>
        </p:txBody>
      </p:sp>
      <p:sp>
        <p:nvSpPr>
          <p:cNvPr id="6" name="Rectangle: Top Corners Rounded 5">
            <a:extLst>
              <a:ext uri="{FF2B5EF4-FFF2-40B4-BE49-F238E27FC236}">
                <a16:creationId xmlns:a16="http://schemas.microsoft.com/office/drawing/2014/main" id="{78BBCD43-EEDD-17C3-B8E4-320E6ECA340F}"/>
              </a:ext>
            </a:extLst>
          </p:cNvPr>
          <p:cNvSpPr/>
          <p:nvPr userDrawn="1"/>
        </p:nvSpPr>
        <p:spPr>
          <a:xfrm rot="5400000" flipH="1">
            <a:off x="572602" y="4899986"/>
            <a:ext cx="877958" cy="2023162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err="1"/>
          </a:p>
        </p:txBody>
      </p:sp>
      <p:sp>
        <p:nvSpPr>
          <p:cNvPr id="3" name="Rectangle: Top Corners Rounded 2">
            <a:extLst>
              <a:ext uri="{FF2B5EF4-FFF2-40B4-BE49-F238E27FC236}">
                <a16:creationId xmlns:a16="http://schemas.microsoft.com/office/drawing/2014/main" id="{AC34CDE1-031B-F659-37E6-092E1C8890F5}"/>
              </a:ext>
            </a:extLst>
          </p:cNvPr>
          <p:cNvSpPr/>
          <p:nvPr userDrawn="1"/>
        </p:nvSpPr>
        <p:spPr>
          <a:xfrm rot="5400000" flipH="1">
            <a:off x="766970" y="1545530"/>
            <a:ext cx="3591342" cy="5125276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err="1"/>
          </a:p>
        </p:txBody>
      </p:sp>
      <p:sp>
        <p:nvSpPr>
          <p:cNvPr id="8" name="Rectangle: Top Corners Rounded 7">
            <a:extLst>
              <a:ext uri="{FF2B5EF4-FFF2-40B4-BE49-F238E27FC236}">
                <a16:creationId xmlns:a16="http://schemas.microsoft.com/office/drawing/2014/main" id="{F0223E2A-EF00-0A08-DA2A-FCB4BDA5AE23}"/>
              </a:ext>
            </a:extLst>
          </p:cNvPr>
          <p:cNvSpPr/>
          <p:nvPr userDrawn="1"/>
        </p:nvSpPr>
        <p:spPr>
          <a:xfrm rot="5400000" flipH="1">
            <a:off x="2255792" y="2934275"/>
            <a:ext cx="877958" cy="5389536"/>
          </a:xfrm>
          <a:custGeom>
            <a:avLst/>
            <a:gdLst>
              <a:gd name="connsiteX0" fmla="*/ 438979 w 877958"/>
              <a:gd name="connsiteY0" fmla="*/ 0 h 5389536"/>
              <a:gd name="connsiteX1" fmla="*/ 438979 w 877958"/>
              <a:gd name="connsiteY1" fmla="*/ 0 h 5389536"/>
              <a:gd name="connsiteX2" fmla="*/ 877958 w 877958"/>
              <a:gd name="connsiteY2" fmla="*/ 438979 h 5389536"/>
              <a:gd name="connsiteX3" fmla="*/ 877958 w 877958"/>
              <a:gd name="connsiteY3" fmla="*/ 5389536 h 5389536"/>
              <a:gd name="connsiteX4" fmla="*/ 877958 w 877958"/>
              <a:gd name="connsiteY4" fmla="*/ 5389536 h 5389536"/>
              <a:gd name="connsiteX5" fmla="*/ 0 w 877958"/>
              <a:gd name="connsiteY5" fmla="*/ 5389536 h 5389536"/>
              <a:gd name="connsiteX6" fmla="*/ 0 w 877958"/>
              <a:gd name="connsiteY6" fmla="*/ 5389536 h 5389536"/>
              <a:gd name="connsiteX7" fmla="*/ 0 w 877958"/>
              <a:gd name="connsiteY7" fmla="*/ 438979 h 5389536"/>
              <a:gd name="connsiteX8" fmla="*/ 438979 w 877958"/>
              <a:gd name="connsiteY8" fmla="*/ 0 h 5389536"/>
              <a:gd name="connsiteX0" fmla="*/ 0 w 877958"/>
              <a:gd name="connsiteY0" fmla="*/ 5389536 h 5480976"/>
              <a:gd name="connsiteX1" fmla="*/ 0 w 877958"/>
              <a:gd name="connsiteY1" fmla="*/ 438979 h 5480976"/>
              <a:gd name="connsiteX2" fmla="*/ 438979 w 877958"/>
              <a:gd name="connsiteY2" fmla="*/ 0 h 5480976"/>
              <a:gd name="connsiteX3" fmla="*/ 438979 w 877958"/>
              <a:gd name="connsiteY3" fmla="*/ 0 h 5480976"/>
              <a:gd name="connsiteX4" fmla="*/ 877958 w 877958"/>
              <a:gd name="connsiteY4" fmla="*/ 438979 h 5480976"/>
              <a:gd name="connsiteX5" fmla="*/ 877958 w 877958"/>
              <a:gd name="connsiteY5" fmla="*/ 5389536 h 5480976"/>
              <a:gd name="connsiteX6" fmla="*/ 877958 w 877958"/>
              <a:gd name="connsiteY6" fmla="*/ 5389536 h 5480976"/>
              <a:gd name="connsiteX7" fmla="*/ 0 w 877958"/>
              <a:gd name="connsiteY7" fmla="*/ 5389536 h 5480976"/>
              <a:gd name="connsiteX8" fmla="*/ 91440 w 877958"/>
              <a:gd name="connsiteY8" fmla="*/ 5480976 h 5480976"/>
              <a:gd name="connsiteX0" fmla="*/ 0 w 877958"/>
              <a:gd name="connsiteY0" fmla="*/ 5389536 h 5389536"/>
              <a:gd name="connsiteX1" fmla="*/ 0 w 877958"/>
              <a:gd name="connsiteY1" fmla="*/ 438979 h 5389536"/>
              <a:gd name="connsiteX2" fmla="*/ 438979 w 877958"/>
              <a:gd name="connsiteY2" fmla="*/ 0 h 5389536"/>
              <a:gd name="connsiteX3" fmla="*/ 438979 w 877958"/>
              <a:gd name="connsiteY3" fmla="*/ 0 h 5389536"/>
              <a:gd name="connsiteX4" fmla="*/ 877958 w 877958"/>
              <a:gd name="connsiteY4" fmla="*/ 438979 h 5389536"/>
              <a:gd name="connsiteX5" fmla="*/ 877958 w 877958"/>
              <a:gd name="connsiteY5" fmla="*/ 5389536 h 5389536"/>
              <a:gd name="connsiteX6" fmla="*/ 877958 w 877958"/>
              <a:gd name="connsiteY6" fmla="*/ 5389536 h 5389536"/>
              <a:gd name="connsiteX7" fmla="*/ 0 w 877958"/>
              <a:gd name="connsiteY7" fmla="*/ 5389536 h 5389536"/>
              <a:gd name="connsiteX0" fmla="*/ 0 w 877958"/>
              <a:gd name="connsiteY0" fmla="*/ 5389536 h 5442453"/>
              <a:gd name="connsiteX1" fmla="*/ 0 w 877958"/>
              <a:gd name="connsiteY1" fmla="*/ 438979 h 5442453"/>
              <a:gd name="connsiteX2" fmla="*/ 438979 w 877958"/>
              <a:gd name="connsiteY2" fmla="*/ 0 h 5442453"/>
              <a:gd name="connsiteX3" fmla="*/ 438979 w 877958"/>
              <a:gd name="connsiteY3" fmla="*/ 0 h 5442453"/>
              <a:gd name="connsiteX4" fmla="*/ 877958 w 877958"/>
              <a:gd name="connsiteY4" fmla="*/ 438979 h 5442453"/>
              <a:gd name="connsiteX5" fmla="*/ 877958 w 877958"/>
              <a:gd name="connsiteY5" fmla="*/ 5389536 h 5442453"/>
              <a:gd name="connsiteX6" fmla="*/ 877958 w 877958"/>
              <a:gd name="connsiteY6" fmla="*/ 5389536 h 5442453"/>
              <a:gd name="connsiteX7" fmla="*/ 14816 w 877958"/>
              <a:gd name="connsiteY7" fmla="*/ 5442453 h 5442453"/>
              <a:gd name="connsiteX0" fmla="*/ 0 w 877958"/>
              <a:gd name="connsiteY0" fmla="*/ 5389536 h 5389536"/>
              <a:gd name="connsiteX1" fmla="*/ 0 w 877958"/>
              <a:gd name="connsiteY1" fmla="*/ 438979 h 5389536"/>
              <a:gd name="connsiteX2" fmla="*/ 438979 w 877958"/>
              <a:gd name="connsiteY2" fmla="*/ 0 h 5389536"/>
              <a:gd name="connsiteX3" fmla="*/ 438979 w 877958"/>
              <a:gd name="connsiteY3" fmla="*/ 0 h 5389536"/>
              <a:gd name="connsiteX4" fmla="*/ 877958 w 877958"/>
              <a:gd name="connsiteY4" fmla="*/ 438979 h 5389536"/>
              <a:gd name="connsiteX5" fmla="*/ 877958 w 877958"/>
              <a:gd name="connsiteY5" fmla="*/ 5389536 h 5389536"/>
              <a:gd name="connsiteX6" fmla="*/ 877958 w 877958"/>
              <a:gd name="connsiteY6" fmla="*/ 5389536 h 53895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77958" h="5389536">
                <a:moveTo>
                  <a:pt x="0" y="5389536"/>
                </a:moveTo>
                <a:lnTo>
                  <a:pt x="0" y="438979"/>
                </a:lnTo>
                <a:cubicBezTo>
                  <a:pt x="0" y="196538"/>
                  <a:pt x="196538" y="0"/>
                  <a:pt x="438979" y="0"/>
                </a:cubicBezTo>
                <a:lnTo>
                  <a:pt x="438979" y="0"/>
                </a:lnTo>
                <a:cubicBezTo>
                  <a:pt x="681420" y="0"/>
                  <a:pt x="877958" y="196538"/>
                  <a:pt x="877958" y="438979"/>
                </a:cubicBezTo>
                <a:lnTo>
                  <a:pt x="877958" y="5389536"/>
                </a:lnTo>
                <a:lnTo>
                  <a:pt x="877958" y="5389536"/>
                </a:lnTo>
              </a:path>
            </a:pathLst>
          </a:custGeom>
          <a:noFill/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endParaRPr lang="en-US" sz="1600" err="1"/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5E9C315F-6F0F-88CF-06F8-56C10BD0C2A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199917" y="735457"/>
            <a:ext cx="2247900" cy="406400"/>
          </a:xfrm>
          <a:prstGeom prst="rect">
            <a:avLst/>
          </a:prstGeom>
        </p:spPr>
      </p:pic>
      <p:sp>
        <p:nvSpPr>
          <p:cNvPr id="11" name="Title 1">
            <a:extLst>
              <a:ext uri="{FF2B5EF4-FFF2-40B4-BE49-F238E27FC236}">
                <a16:creationId xmlns:a16="http://schemas.microsoft.com/office/drawing/2014/main" id="{FB046CC9-1517-70B1-8165-DF336CD8DB17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 bwMode="white">
          <a:xfrm>
            <a:off x="5617028" y="2465262"/>
            <a:ext cx="5889171" cy="3285811"/>
          </a:xfrm>
          <a:prstGeom prst="rect">
            <a:avLst/>
          </a:prstGeom>
        </p:spPr>
        <p:txBody>
          <a:bodyPr anchor="ctr" anchorCtr="0"/>
          <a:lstStyle>
            <a:lvl1pPr>
              <a:lnSpc>
                <a:spcPct val="100000"/>
              </a:lnSpc>
              <a:defRPr sz="3600" b="1">
                <a:solidFill>
                  <a:schemeClr val="accent2"/>
                </a:solidFill>
              </a:defRPr>
            </a:lvl1pPr>
          </a:lstStyle>
          <a:p>
            <a:r>
              <a:rPr lang="en-US"/>
              <a:t>Divider title are 36pt Arial Bold sentence case</a:t>
            </a:r>
          </a:p>
        </p:txBody>
      </p:sp>
    </p:spTree>
    <p:extLst>
      <p:ext uri="{BB962C8B-B14F-4D97-AF65-F5344CB8AC3E}">
        <p14:creationId xmlns:p14="http://schemas.microsoft.com/office/powerpoint/2010/main" val="287845420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2024-02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797C944E-D498-D622-98F6-EFDA4686424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white">
          <a:xfrm>
            <a:off x="613608" y="2001994"/>
            <a:ext cx="5588846" cy="3282696"/>
          </a:xfrm>
          <a:prstGeom prst="rect">
            <a:avLst/>
          </a:prstGeom>
        </p:spPr>
        <p:txBody>
          <a:bodyPr anchor="ctr" anchorCtr="0"/>
          <a:lstStyle>
            <a:lvl1pPr>
              <a:lnSpc>
                <a:spcPct val="100000"/>
              </a:lnSpc>
              <a:defRPr sz="3600" b="1">
                <a:solidFill>
                  <a:schemeClr val="accent2"/>
                </a:solidFill>
              </a:defRPr>
            </a:lvl1pPr>
          </a:lstStyle>
          <a:p>
            <a:r>
              <a:rPr lang="en-US"/>
              <a:t>Divider title are 36pt Arial Bold sentence case</a:t>
            </a: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B22C3E46-9D61-E508-04E3-6A06DDAA050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31520" y="812800"/>
            <a:ext cx="2247900" cy="406400"/>
          </a:xfrm>
          <a:prstGeom prst="rect">
            <a:avLst/>
          </a:prstGeom>
        </p:spPr>
      </p:pic>
      <p:sp>
        <p:nvSpPr>
          <p:cNvPr id="36" name="Freeform: Shape 35">
            <a:extLst>
              <a:ext uri="{FF2B5EF4-FFF2-40B4-BE49-F238E27FC236}">
                <a16:creationId xmlns:a16="http://schemas.microsoft.com/office/drawing/2014/main" id="{26C46D3E-AC6D-3103-8DBD-956D74F4C909}"/>
              </a:ext>
            </a:extLst>
          </p:cNvPr>
          <p:cNvSpPr/>
          <p:nvPr userDrawn="1"/>
        </p:nvSpPr>
        <p:spPr>
          <a:xfrm rot="900000">
            <a:off x="8442677" y="-448970"/>
            <a:ext cx="3111997" cy="7865277"/>
          </a:xfrm>
          <a:custGeom>
            <a:avLst/>
            <a:gdLst>
              <a:gd name="connsiteX0" fmla="*/ 0 w 3111997"/>
              <a:gd name="connsiteY0" fmla="*/ 743009 h 7865277"/>
              <a:gd name="connsiteX1" fmla="*/ 2772948 w 3111997"/>
              <a:gd name="connsiteY1" fmla="*/ 0 h 7865277"/>
              <a:gd name="connsiteX2" fmla="*/ 3111997 w 3111997"/>
              <a:gd name="connsiteY2" fmla="*/ 1265346 h 7865277"/>
              <a:gd name="connsiteX3" fmla="*/ 3111997 w 3111997"/>
              <a:gd name="connsiteY3" fmla="*/ 7031420 h 7865277"/>
              <a:gd name="connsiteX4" fmla="*/ 0 w 3111997"/>
              <a:gd name="connsiteY4" fmla="*/ 7865277 h 78652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111997" h="7865277">
                <a:moveTo>
                  <a:pt x="0" y="743009"/>
                </a:moveTo>
                <a:lnTo>
                  <a:pt x="2772948" y="0"/>
                </a:lnTo>
                <a:lnTo>
                  <a:pt x="3111997" y="1265346"/>
                </a:lnTo>
                <a:lnTo>
                  <a:pt x="3111997" y="7031420"/>
                </a:lnTo>
                <a:lnTo>
                  <a:pt x="0" y="7865277"/>
                </a:lnTo>
                <a:close/>
              </a:path>
            </a:pathLst>
          </a:custGeom>
          <a:gradFill flip="none" rotWithShape="1">
            <a:gsLst>
              <a:gs pos="80000">
                <a:srgbClr val="005587"/>
              </a:gs>
              <a:gs pos="20000">
                <a:srgbClr val="140B42"/>
              </a:gs>
            </a:gsLst>
            <a:lin ang="5400000" scaled="1"/>
            <a:tileRect/>
          </a:gradFill>
          <a:ln w="762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lvl="0"/>
            <a:endParaRPr lang="en-US" sz="1600" err="1"/>
          </a:p>
        </p:txBody>
      </p:sp>
      <p:sp>
        <p:nvSpPr>
          <p:cNvPr id="33" name="Freeform: Shape 32">
            <a:extLst>
              <a:ext uri="{FF2B5EF4-FFF2-40B4-BE49-F238E27FC236}">
                <a16:creationId xmlns:a16="http://schemas.microsoft.com/office/drawing/2014/main" id="{C91B8118-8001-4841-19F8-D496141A50A0}"/>
              </a:ext>
            </a:extLst>
          </p:cNvPr>
          <p:cNvSpPr/>
          <p:nvPr userDrawn="1"/>
        </p:nvSpPr>
        <p:spPr>
          <a:xfrm rot="900000">
            <a:off x="7857953" y="-251045"/>
            <a:ext cx="1122250" cy="6279582"/>
          </a:xfrm>
          <a:custGeom>
            <a:avLst/>
            <a:gdLst>
              <a:gd name="connsiteX0" fmla="*/ 0 w 1122250"/>
              <a:gd name="connsiteY0" fmla="*/ 299494 h 6279582"/>
              <a:gd name="connsiteX1" fmla="*/ 1117728 w 1122250"/>
              <a:gd name="connsiteY1" fmla="*/ 0 h 6279582"/>
              <a:gd name="connsiteX2" fmla="*/ 1122250 w 1122250"/>
              <a:gd name="connsiteY2" fmla="*/ 44868 h 6279582"/>
              <a:gd name="connsiteX3" fmla="*/ 1122250 w 1122250"/>
              <a:gd name="connsiteY3" fmla="*/ 5718457 h 6279582"/>
              <a:gd name="connsiteX4" fmla="*/ 561125 w 1122250"/>
              <a:gd name="connsiteY4" fmla="*/ 6279582 h 6279582"/>
              <a:gd name="connsiteX5" fmla="*/ 0 w 1122250"/>
              <a:gd name="connsiteY5" fmla="*/ 5718457 h 62795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22250" h="6279582">
                <a:moveTo>
                  <a:pt x="0" y="299494"/>
                </a:moveTo>
                <a:lnTo>
                  <a:pt x="1117728" y="0"/>
                </a:lnTo>
                <a:lnTo>
                  <a:pt x="1122250" y="44868"/>
                </a:lnTo>
                <a:lnTo>
                  <a:pt x="1122250" y="5718457"/>
                </a:lnTo>
                <a:cubicBezTo>
                  <a:pt x="1122250" y="6028358"/>
                  <a:pt x="871026" y="6279582"/>
                  <a:pt x="561125" y="6279582"/>
                </a:cubicBezTo>
                <a:cubicBezTo>
                  <a:pt x="251224" y="6279582"/>
                  <a:pt x="0" y="6028358"/>
                  <a:pt x="0" y="5718457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algn="l"/>
            <a:endParaRPr lang="en-US" sz="1600" err="1"/>
          </a:p>
        </p:txBody>
      </p:sp>
      <p:sp>
        <p:nvSpPr>
          <p:cNvPr id="35" name="Freeform: Shape 34">
            <a:extLst>
              <a:ext uri="{FF2B5EF4-FFF2-40B4-BE49-F238E27FC236}">
                <a16:creationId xmlns:a16="http://schemas.microsoft.com/office/drawing/2014/main" id="{3D0BEB81-5C21-E6CB-2945-4D85A1CF4B39}"/>
              </a:ext>
            </a:extLst>
          </p:cNvPr>
          <p:cNvSpPr/>
          <p:nvPr userDrawn="1"/>
        </p:nvSpPr>
        <p:spPr>
          <a:xfrm rot="900000">
            <a:off x="10684011" y="4443897"/>
            <a:ext cx="1122250" cy="2625649"/>
          </a:xfrm>
          <a:custGeom>
            <a:avLst/>
            <a:gdLst>
              <a:gd name="connsiteX0" fmla="*/ 448039 w 1122250"/>
              <a:gd name="connsiteY0" fmla="*/ 11400 h 2625649"/>
              <a:gd name="connsiteX1" fmla="*/ 561125 w 1122250"/>
              <a:gd name="connsiteY1" fmla="*/ 1 h 2625649"/>
              <a:gd name="connsiteX2" fmla="*/ 1122250 w 1122250"/>
              <a:gd name="connsiteY2" fmla="*/ 561125 h 2625649"/>
              <a:gd name="connsiteX3" fmla="*/ 1122250 w 1122250"/>
              <a:gd name="connsiteY3" fmla="*/ 2324943 h 2625649"/>
              <a:gd name="connsiteX4" fmla="*/ 0 w 1122250"/>
              <a:gd name="connsiteY4" fmla="*/ 2625649 h 2625649"/>
              <a:gd name="connsiteX5" fmla="*/ 0 w 1122250"/>
              <a:gd name="connsiteY5" fmla="*/ 561125 h 2625649"/>
              <a:gd name="connsiteX6" fmla="*/ 448039 w 1122250"/>
              <a:gd name="connsiteY6" fmla="*/ 11400 h 26256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122250" h="2625649">
                <a:moveTo>
                  <a:pt x="448039" y="11400"/>
                </a:moveTo>
                <a:cubicBezTo>
                  <a:pt x="484566" y="3926"/>
                  <a:pt x="522387" y="0"/>
                  <a:pt x="561125" y="1"/>
                </a:cubicBezTo>
                <a:cubicBezTo>
                  <a:pt x="871026" y="0"/>
                  <a:pt x="1122250" y="251225"/>
                  <a:pt x="1122250" y="561125"/>
                </a:cubicBezTo>
                <a:lnTo>
                  <a:pt x="1122250" y="2324943"/>
                </a:lnTo>
                <a:lnTo>
                  <a:pt x="0" y="2625649"/>
                </a:lnTo>
                <a:lnTo>
                  <a:pt x="0" y="561125"/>
                </a:lnTo>
                <a:cubicBezTo>
                  <a:pt x="0" y="289962"/>
                  <a:pt x="192344" y="63723"/>
                  <a:pt x="448039" y="1140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algn="l"/>
            <a:endParaRPr lang="en-US" sz="1600" err="1"/>
          </a:p>
        </p:txBody>
      </p:sp>
    </p:spTree>
    <p:extLst>
      <p:ext uri="{BB962C8B-B14F-4D97-AF65-F5344CB8AC3E}">
        <p14:creationId xmlns:p14="http://schemas.microsoft.com/office/powerpoint/2010/main" val="34416599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2024-03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Rectangle 37">
            <a:extLst>
              <a:ext uri="{FF2B5EF4-FFF2-40B4-BE49-F238E27FC236}">
                <a16:creationId xmlns:a16="http://schemas.microsoft.com/office/drawing/2014/main" id="{D008FDF6-6C42-435C-8ABA-FDA3F0DFE00D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20000">
                <a:srgbClr val="005587"/>
              </a:gs>
              <a:gs pos="80000">
                <a:srgbClr val="00A3E0"/>
              </a:gs>
            </a:gsLst>
            <a:lin ang="2700000" scaled="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t" anchorCtr="0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4" name="Text Placeholder 21">
            <a:extLst>
              <a:ext uri="{FF2B5EF4-FFF2-40B4-BE49-F238E27FC236}">
                <a16:creationId xmlns:a16="http://schemas.microsoft.com/office/drawing/2014/main" id="{DF6C4E0C-B7EB-46A6-B6F0-C76FDCFC3F2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13608" y="4175059"/>
            <a:ext cx="5995852" cy="119580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400" b="0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heads are 24pt Arial Italic sentence case</a:t>
            </a:r>
          </a:p>
        </p:txBody>
      </p:sp>
      <p:sp>
        <p:nvSpPr>
          <p:cNvPr id="35" name="Title 1">
            <a:extLst>
              <a:ext uri="{FF2B5EF4-FFF2-40B4-BE49-F238E27FC236}">
                <a16:creationId xmlns:a16="http://schemas.microsoft.com/office/drawing/2014/main" id="{F7111441-0C14-4EE9-B6C1-ED9FC63641C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13608" y="1918354"/>
            <a:ext cx="5995852" cy="2088828"/>
          </a:xfrm>
          <a:prstGeom prst="rect">
            <a:avLst/>
          </a:prstGeom>
        </p:spPr>
        <p:txBody>
          <a:bodyPr anchor="b" anchorCtr="0"/>
          <a:lstStyle>
            <a:lvl1pPr algn="l">
              <a:lnSpc>
                <a:spcPct val="100000"/>
              </a:lnSpc>
              <a:defRPr sz="3600" b="1" i="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Headline 36pt Arial Bold Title Case and Can be 3 Lines</a:t>
            </a:r>
          </a:p>
        </p:txBody>
      </p:sp>
      <p:sp>
        <p:nvSpPr>
          <p:cNvPr id="36" name="Subtitle 2">
            <a:extLst>
              <a:ext uri="{FF2B5EF4-FFF2-40B4-BE49-F238E27FC236}">
                <a16:creationId xmlns:a16="http://schemas.microsoft.com/office/drawing/2014/main" id="{413712FA-495E-465D-A2EB-8AA7E6AE552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13608" y="5518464"/>
            <a:ext cx="5995852" cy="669272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200"/>
              </a:spcBef>
              <a:buNone/>
              <a:defRPr sz="160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Author First Last Name, Title 16pt Arial</a:t>
            </a:r>
          </a:p>
        </p:txBody>
      </p:sp>
      <p:pic>
        <p:nvPicPr>
          <p:cNvPr id="40" name="Picture 39">
            <a:extLst>
              <a:ext uri="{FF2B5EF4-FFF2-40B4-BE49-F238E27FC236}">
                <a16:creationId xmlns:a16="http://schemas.microsoft.com/office/drawing/2014/main" id="{78BCC127-A4D6-48D0-A944-3E354801CDCC}"/>
              </a:ext>
            </a:extLst>
          </p:cNvPr>
          <p:cNvPicPr>
            <a:picLocks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41709"/>
          <a:stretch/>
        </p:blipFill>
        <p:spPr>
          <a:xfrm>
            <a:off x="731520" y="812800"/>
            <a:ext cx="2247900" cy="406400"/>
          </a:xfrm>
          <a:prstGeom prst="rect">
            <a:avLst/>
          </a:prstGeom>
        </p:spPr>
      </p:pic>
      <p:sp>
        <p:nvSpPr>
          <p:cNvPr id="21" name="Freeform: Shape 20">
            <a:extLst>
              <a:ext uri="{FF2B5EF4-FFF2-40B4-BE49-F238E27FC236}">
                <a16:creationId xmlns:a16="http://schemas.microsoft.com/office/drawing/2014/main" id="{2455B4A9-C2C4-4D4B-B5A6-E3BB93F31793}"/>
              </a:ext>
            </a:extLst>
          </p:cNvPr>
          <p:cNvSpPr/>
          <p:nvPr userDrawn="1"/>
        </p:nvSpPr>
        <p:spPr>
          <a:xfrm rot="18880191">
            <a:off x="7003968" y="958724"/>
            <a:ext cx="5766811" cy="1634831"/>
          </a:xfrm>
          <a:custGeom>
            <a:avLst/>
            <a:gdLst>
              <a:gd name="connsiteX0" fmla="*/ 7130190 w 7130190"/>
              <a:gd name="connsiteY0" fmla="*/ 1494581 h 2021334"/>
              <a:gd name="connsiteX1" fmla="*/ 6597331 w 7130190"/>
              <a:gd name="connsiteY1" fmla="*/ 2021334 h 2021334"/>
              <a:gd name="connsiteX2" fmla="*/ 1010667 w 7130190"/>
              <a:gd name="connsiteY2" fmla="*/ 2021334 h 2021334"/>
              <a:gd name="connsiteX3" fmla="*/ 0 w 7130190"/>
              <a:gd name="connsiteY3" fmla="*/ 1010667 h 2021334"/>
              <a:gd name="connsiteX4" fmla="*/ 1010667 w 7130190"/>
              <a:gd name="connsiteY4" fmla="*/ 0 h 2021334"/>
              <a:gd name="connsiteX5" fmla="*/ 5652735 w 7130190"/>
              <a:gd name="connsiteY5" fmla="*/ 0 h 20213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130190" h="2021334">
                <a:moveTo>
                  <a:pt x="7130190" y="1494581"/>
                </a:moveTo>
                <a:lnTo>
                  <a:pt x="6597331" y="2021334"/>
                </a:lnTo>
                <a:lnTo>
                  <a:pt x="1010667" y="2021334"/>
                </a:lnTo>
                <a:cubicBezTo>
                  <a:pt x="452491" y="2021334"/>
                  <a:pt x="0" y="1568843"/>
                  <a:pt x="0" y="1010667"/>
                </a:cubicBezTo>
                <a:cubicBezTo>
                  <a:pt x="0" y="452491"/>
                  <a:pt x="452491" y="0"/>
                  <a:pt x="1010667" y="0"/>
                </a:cubicBezTo>
                <a:lnTo>
                  <a:pt x="5652735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algn="l"/>
            <a:endParaRPr lang="en-US" sz="1600" err="1"/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9745EF4D-5A59-0033-22CE-A967C3343CEA}"/>
              </a:ext>
            </a:extLst>
          </p:cNvPr>
          <p:cNvSpPr/>
          <p:nvPr userDrawn="1"/>
        </p:nvSpPr>
        <p:spPr>
          <a:xfrm rot="18880191">
            <a:off x="8499307" y="2355298"/>
            <a:ext cx="2930426" cy="887781"/>
          </a:xfrm>
          <a:prstGeom prst="roundRect">
            <a:avLst>
              <a:gd name="adj" fmla="val 50000"/>
            </a:avLst>
          </a:prstGeom>
          <a:noFill/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err="1"/>
          </a:p>
        </p:txBody>
      </p:sp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74CC37FF-6C44-F059-2F5F-95F30D6AF64C}"/>
              </a:ext>
            </a:extLst>
          </p:cNvPr>
          <p:cNvSpPr/>
          <p:nvPr userDrawn="1"/>
        </p:nvSpPr>
        <p:spPr>
          <a:xfrm rot="18880191">
            <a:off x="8572095" y="74113"/>
            <a:ext cx="2335382" cy="887781"/>
          </a:xfrm>
          <a:custGeom>
            <a:avLst/>
            <a:gdLst>
              <a:gd name="connsiteX0" fmla="*/ 1802418 w 2887509"/>
              <a:gd name="connsiteY0" fmla="*/ 0 h 1097669"/>
              <a:gd name="connsiteX1" fmla="*/ 2887509 w 2887509"/>
              <a:gd name="connsiteY1" fmla="*/ 1097669 h 1097669"/>
              <a:gd name="connsiteX2" fmla="*/ 548834 w 2887509"/>
              <a:gd name="connsiteY2" fmla="*/ 1097668 h 1097669"/>
              <a:gd name="connsiteX3" fmla="*/ 0 w 2887509"/>
              <a:gd name="connsiteY3" fmla="*/ 548834 h 1097669"/>
              <a:gd name="connsiteX4" fmla="*/ 548834 w 2887509"/>
              <a:gd name="connsiteY4" fmla="*/ 0 h 10976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887509" h="1097669">
                <a:moveTo>
                  <a:pt x="1802418" y="0"/>
                </a:moveTo>
                <a:lnTo>
                  <a:pt x="2887509" y="1097669"/>
                </a:lnTo>
                <a:lnTo>
                  <a:pt x="548834" y="1097668"/>
                </a:lnTo>
                <a:cubicBezTo>
                  <a:pt x="245721" y="1097668"/>
                  <a:pt x="0" y="851947"/>
                  <a:pt x="0" y="548834"/>
                </a:cubicBezTo>
                <a:cubicBezTo>
                  <a:pt x="0" y="245721"/>
                  <a:pt x="245721" y="0"/>
                  <a:pt x="548834" y="0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algn="l"/>
            <a:endParaRPr lang="en-US" sz="1600" err="1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3B69183B-EF09-DEB8-DBB1-EE99DD036764}"/>
              </a:ext>
            </a:extLst>
          </p:cNvPr>
          <p:cNvSpPr txBox="1"/>
          <p:nvPr userDrawn="1"/>
        </p:nvSpPr>
        <p:spPr bwMode="black">
          <a:xfrm>
            <a:off x="613608" y="6519948"/>
            <a:ext cx="7722832" cy="215444"/>
          </a:xfrm>
          <a:prstGeom prst="rect">
            <a:avLst/>
          </a:prstGeom>
          <a:ln>
            <a:noFill/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rgbClr val="7FD1EF"/>
                </a:solidFill>
                <a:ea typeface="Arial" charset="0"/>
                <a:cs typeface="Arial" charset="0"/>
              </a:rPr>
              <a:t>© 2025. All rights reserved. IQVIA</a:t>
            </a:r>
            <a:r>
              <a:rPr lang="en-US" sz="800" baseline="30000">
                <a:solidFill>
                  <a:srgbClr val="7FD1EF"/>
                </a:solidFill>
                <a:ea typeface="Arial" charset="0"/>
                <a:cs typeface="Arial" charset="0"/>
              </a:rPr>
              <a:t>®</a:t>
            </a:r>
            <a:r>
              <a:rPr lang="en-US" sz="800">
                <a:solidFill>
                  <a:srgbClr val="7FD1EF"/>
                </a:solidFill>
                <a:ea typeface="Arial" charset="0"/>
                <a:cs typeface="Arial" charset="0"/>
              </a:rPr>
              <a:t> is a registered trademark of IQVIA Inc. in the United States, the European Union, and various other countries. </a:t>
            </a:r>
          </a:p>
        </p:txBody>
      </p:sp>
      <p:sp>
        <p:nvSpPr>
          <p:cNvPr id="23" name="Freeform: Shape 22">
            <a:extLst>
              <a:ext uri="{FF2B5EF4-FFF2-40B4-BE49-F238E27FC236}">
                <a16:creationId xmlns:a16="http://schemas.microsoft.com/office/drawing/2014/main" id="{AAC475A6-CE10-0E6A-2700-525C57FA92F3}"/>
              </a:ext>
            </a:extLst>
          </p:cNvPr>
          <p:cNvSpPr>
            <a:spLocks/>
          </p:cNvSpPr>
          <p:nvPr userDrawn="1"/>
        </p:nvSpPr>
        <p:spPr bwMode="auto">
          <a:xfrm rot="2700000">
            <a:off x="9437387" y="536223"/>
            <a:ext cx="3931862" cy="3934695"/>
          </a:xfrm>
          <a:custGeom>
            <a:avLst/>
            <a:gdLst>
              <a:gd name="connsiteX0" fmla="*/ 382156 w 3931862"/>
              <a:gd name="connsiteY0" fmla="*/ 10539 h 3934695"/>
              <a:gd name="connsiteX1" fmla="*/ 384583 w 3931862"/>
              <a:gd name="connsiteY1" fmla="*/ 9785 h 3934695"/>
              <a:gd name="connsiteX2" fmla="*/ 481653 w 3931862"/>
              <a:gd name="connsiteY2" fmla="*/ 0 h 3934695"/>
              <a:gd name="connsiteX3" fmla="*/ 1113950 w 3931862"/>
              <a:gd name="connsiteY3" fmla="*/ 0 h 3934695"/>
              <a:gd name="connsiteX4" fmla="*/ 3931862 w 3931862"/>
              <a:gd name="connsiteY4" fmla="*/ 2817912 h 3934695"/>
              <a:gd name="connsiteX5" fmla="*/ 3931862 w 3931862"/>
              <a:gd name="connsiteY5" fmla="*/ 3453042 h 3934695"/>
              <a:gd name="connsiteX6" fmla="*/ 3450209 w 3931862"/>
              <a:gd name="connsiteY6" fmla="*/ 3934695 h 3934695"/>
              <a:gd name="connsiteX7" fmla="*/ 481653 w 3931862"/>
              <a:gd name="connsiteY7" fmla="*/ 3934695 h 3934695"/>
              <a:gd name="connsiteX8" fmla="*/ 0 w 3931862"/>
              <a:gd name="connsiteY8" fmla="*/ 3453042 h 3934695"/>
              <a:gd name="connsiteX9" fmla="*/ 0 w 3931862"/>
              <a:gd name="connsiteY9" fmla="*/ 481653 h 3934695"/>
              <a:gd name="connsiteX10" fmla="*/ 9786 w 3931862"/>
              <a:gd name="connsiteY10" fmla="*/ 384583 h 3934695"/>
              <a:gd name="connsiteX11" fmla="*/ 10539 w 3931862"/>
              <a:gd name="connsiteY11" fmla="*/ 382157 h 39346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3931862" h="3934695">
                <a:moveTo>
                  <a:pt x="382156" y="10539"/>
                </a:moveTo>
                <a:lnTo>
                  <a:pt x="384583" y="9785"/>
                </a:lnTo>
                <a:cubicBezTo>
                  <a:pt x="415937" y="3370"/>
                  <a:pt x="448402" y="0"/>
                  <a:pt x="481653" y="0"/>
                </a:cubicBezTo>
                <a:lnTo>
                  <a:pt x="1113950" y="0"/>
                </a:lnTo>
                <a:lnTo>
                  <a:pt x="3931862" y="2817912"/>
                </a:lnTo>
                <a:lnTo>
                  <a:pt x="3931862" y="3453042"/>
                </a:lnTo>
                <a:cubicBezTo>
                  <a:pt x="3931862" y="3719052"/>
                  <a:pt x="3716219" y="3934695"/>
                  <a:pt x="3450209" y="3934695"/>
                </a:cubicBezTo>
                <a:lnTo>
                  <a:pt x="481653" y="3934695"/>
                </a:lnTo>
                <a:cubicBezTo>
                  <a:pt x="215643" y="3934695"/>
                  <a:pt x="0" y="3719052"/>
                  <a:pt x="0" y="3453042"/>
                </a:cubicBezTo>
                <a:lnTo>
                  <a:pt x="0" y="481653"/>
                </a:lnTo>
                <a:cubicBezTo>
                  <a:pt x="0" y="448402"/>
                  <a:pt x="3369" y="415937"/>
                  <a:pt x="9786" y="384583"/>
                </a:cubicBezTo>
                <a:lnTo>
                  <a:pt x="10539" y="382157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lvl="0"/>
            <a:endParaRPr lang="en-US" sz="1600">
              <a:solidFill>
                <a:schemeClr val="lt1"/>
              </a:solidFill>
            </a:endParaRPr>
          </a:p>
        </p:txBody>
      </p:sp>
      <p:sp>
        <p:nvSpPr>
          <p:cNvPr id="28" name="Freeform: Shape 27">
            <a:extLst>
              <a:ext uri="{FF2B5EF4-FFF2-40B4-BE49-F238E27FC236}">
                <a16:creationId xmlns:a16="http://schemas.microsoft.com/office/drawing/2014/main" id="{74012F6A-325E-BA05-9E6A-DBAD18E7D956}"/>
              </a:ext>
            </a:extLst>
          </p:cNvPr>
          <p:cNvSpPr>
            <a:spLocks/>
          </p:cNvSpPr>
          <p:nvPr userDrawn="1"/>
        </p:nvSpPr>
        <p:spPr bwMode="auto">
          <a:xfrm rot="2700000">
            <a:off x="10223690" y="810799"/>
            <a:ext cx="3785617" cy="3568117"/>
          </a:xfrm>
          <a:custGeom>
            <a:avLst/>
            <a:gdLst>
              <a:gd name="connsiteX0" fmla="*/ 105591 w 3804547"/>
              <a:gd name="connsiteY0" fmla="*/ 0 h 3701473"/>
              <a:gd name="connsiteX1" fmla="*/ 3804547 w 3804547"/>
              <a:gd name="connsiteY1" fmla="*/ 3698955 h 3701473"/>
              <a:gd name="connsiteX2" fmla="*/ 3779576 w 3804547"/>
              <a:gd name="connsiteY2" fmla="*/ 3701473 h 3701473"/>
              <a:gd name="connsiteX3" fmla="*/ 501834 w 3804547"/>
              <a:gd name="connsiteY3" fmla="*/ 3701473 h 3701473"/>
              <a:gd name="connsiteX4" fmla="*/ 0 w 3804547"/>
              <a:gd name="connsiteY4" fmla="*/ 3199639 h 3701473"/>
              <a:gd name="connsiteX5" fmla="*/ 0 w 3804547"/>
              <a:gd name="connsiteY5" fmla="*/ 106703 h 3701473"/>
              <a:gd name="connsiteX6" fmla="*/ 125 w 3804547"/>
              <a:gd name="connsiteY6" fmla="*/ 105466 h 3701473"/>
              <a:gd name="connsiteX0" fmla="*/ 105591 w 3804547"/>
              <a:gd name="connsiteY0" fmla="*/ 0 h 3701473"/>
              <a:gd name="connsiteX1" fmla="*/ 3804547 w 3804547"/>
              <a:gd name="connsiteY1" fmla="*/ 3698955 h 3701473"/>
              <a:gd name="connsiteX2" fmla="*/ 3779576 w 3804547"/>
              <a:gd name="connsiteY2" fmla="*/ 3701473 h 3701473"/>
              <a:gd name="connsiteX3" fmla="*/ 501834 w 3804547"/>
              <a:gd name="connsiteY3" fmla="*/ 3701473 h 3701473"/>
              <a:gd name="connsiteX4" fmla="*/ 0 w 3804547"/>
              <a:gd name="connsiteY4" fmla="*/ 3199639 h 3701473"/>
              <a:gd name="connsiteX5" fmla="*/ 0 w 3804547"/>
              <a:gd name="connsiteY5" fmla="*/ 106703 h 3701473"/>
              <a:gd name="connsiteX6" fmla="*/ 125 w 3804547"/>
              <a:gd name="connsiteY6" fmla="*/ 105466 h 3701473"/>
              <a:gd name="connsiteX7" fmla="*/ 197031 w 3804547"/>
              <a:gd name="connsiteY7" fmla="*/ 91440 h 3701473"/>
              <a:gd name="connsiteX0" fmla="*/ 105591 w 3804547"/>
              <a:gd name="connsiteY0" fmla="*/ 0 h 3701473"/>
              <a:gd name="connsiteX1" fmla="*/ 3804547 w 3804547"/>
              <a:gd name="connsiteY1" fmla="*/ 3698955 h 3701473"/>
              <a:gd name="connsiteX2" fmla="*/ 3779576 w 3804547"/>
              <a:gd name="connsiteY2" fmla="*/ 3701473 h 3701473"/>
              <a:gd name="connsiteX3" fmla="*/ 501834 w 3804547"/>
              <a:gd name="connsiteY3" fmla="*/ 3701473 h 3701473"/>
              <a:gd name="connsiteX4" fmla="*/ 0 w 3804547"/>
              <a:gd name="connsiteY4" fmla="*/ 3199639 h 3701473"/>
              <a:gd name="connsiteX5" fmla="*/ 0 w 3804547"/>
              <a:gd name="connsiteY5" fmla="*/ 106703 h 3701473"/>
              <a:gd name="connsiteX6" fmla="*/ 125 w 3804547"/>
              <a:gd name="connsiteY6" fmla="*/ 105466 h 3701473"/>
              <a:gd name="connsiteX0" fmla="*/ 3804547 w 3804547"/>
              <a:gd name="connsiteY0" fmla="*/ 3593489 h 3596007"/>
              <a:gd name="connsiteX1" fmla="*/ 3779576 w 3804547"/>
              <a:gd name="connsiteY1" fmla="*/ 3596007 h 3596007"/>
              <a:gd name="connsiteX2" fmla="*/ 501834 w 3804547"/>
              <a:gd name="connsiteY2" fmla="*/ 3596007 h 3596007"/>
              <a:gd name="connsiteX3" fmla="*/ 0 w 3804547"/>
              <a:gd name="connsiteY3" fmla="*/ 3094173 h 3596007"/>
              <a:gd name="connsiteX4" fmla="*/ 0 w 3804547"/>
              <a:gd name="connsiteY4" fmla="*/ 1237 h 3596007"/>
              <a:gd name="connsiteX5" fmla="*/ 125 w 3804547"/>
              <a:gd name="connsiteY5" fmla="*/ 0 h 35960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804547" h="3596007">
                <a:moveTo>
                  <a:pt x="3804547" y="3593489"/>
                </a:moveTo>
                <a:lnTo>
                  <a:pt x="3779576" y="3596007"/>
                </a:lnTo>
                <a:lnTo>
                  <a:pt x="501834" y="3596007"/>
                </a:lnTo>
                <a:cubicBezTo>
                  <a:pt x="224679" y="3596007"/>
                  <a:pt x="0" y="3371328"/>
                  <a:pt x="0" y="3094173"/>
                </a:cubicBezTo>
                <a:lnTo>
                  <a:pt x="0" y="1237"/>
                </a:lnTo>
                <a:cubicBezTo>
                  <a:pt x="42" y="825"/>
                  <a:pt x="83" y="412"/>
                  <a:pt x="125" y="0"/>
                </a:cubicBezTo>
              </a:path>
            </a:pathLst>
          </a:custGeom>
          <a:noFill/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lvl="0"/>
            <a:endParaRPr lang="en-US" sz="1600">
              <a:solidFill>
                <a:schemeClr val="l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0371115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2024-03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8AEDBA70-406E-67AC-EA19-AFC94EEB8D0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20000">
                <a:srgbClr val="005587"/>
              </a:gs>
              <a:gs pos="80000">
                <a:srgbClr val="00A3E0"/>
              </a:gs>
            </a:gsLst>
            <a:lin ang="2700000" scaled="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t" anchorCtr="0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180FF161-95B3-687F-236E-89576B37039B}"/>
              </a:ext>
            </a:extLst>
          </p:cNvPr>
          <p:cNvSpPr/>
          <p:nvPr userDrawn="1"/>
        </p:nvSpPr>
        <p:spPr>
          <a:xfrm rot="18896850">
            <a:off x="8810675" y="809749"/>
            <a:ext cx="2572502" cy="638140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err="1"/>
          </a:p>
        </p:txBody>
      </p:sp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91B89BCA-B6DC-9CFA-1B14-60CBF7F68A9A}"/>
              </a:ext>
            </a:extLst>
          </p:cNvPr>
          <p:cNvSpPr/>
          <p:nvPr userDrawn="1"/>
        </p:nvSpPr>
        <p:spPr>
          <a:xfrm rot="18896850">
            <a:off x="9955161" y="3750354"/>
            <a:ext cx="2884755" cy="638140"/>
          </a:xfrm>
          <a:custGeom>
            <a:avLst/>
            <a:gdLst>
              <a:gd name="connsiteX0" fmla="*/ 3674317 w 3674317"/>
              <a:gd name="connsiteY0" fmla="*/ 0 h 812800"/>
              <a:gd name="connsiteX1" fmla="*/ 2860027 w 3674317"/>
              <a:gd name="connsiteY1" fmla="*/ 812800 h 812800"/>
              <a:gd name="connsiteX2" fmla="*/ 406400 w 3674317"/>
              <a:gd name="connsiteY2" fmla="*/ 812800 h 812800"/>
              <a:gd name="connsiteX3" fmla="*/ 0 w 3674317"/>
              <a:gd name="connsiteY3" fmla="*/ 406400 h 812800"/>
              <a:gd name="connsiteX4" fmla="*/ 406400 w 3674317"/>
              <a:gd name="connsiteY4" fmla="*/ 0 h 812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674317" h="812800">
                <a:moveTo>
                  <a:pt x="3674317" y="0"/>
                </a:moveTo>
                <a:lnTo>
                  <a:pt x="2860027" y="812800"/>
                </a:lnTo>
                <a:lnTo>
                  <a:pt x="406400" y="812800"/>
                </a:lnTo>
                <a:cubicBezTo>
                  <a:pt x="181951" y="812800"/>
                  <a:pt x="0" y="630849"/>
                  <a:pt x="0" y="406400"/>
                </a:cubicBezTo>
                <a:cubicBezTo>
                  <a:pt x="0" y="181951"/>
                  <a:pt x="181951" y="0"/>
                  <a:pt x="406400" y="0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algn="l"/>
            <a:endParaRPr lang="en-US" sz="1600" err="1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CF014C0-8BB5-5793-9DBD-D422EF624E7C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 bwMode="white">
          <a:xfrm>
            <a:off x="613608" y="711200"/>
            <a:ext cx="7285515" cy="4576605"/>
          </a:xfrm>
          <a:prstGeom prst="rect">
            <a:avLst/>
          </a:prstGeom>
        </p:spPr>
        <p:txBody>
          <a:bodyPr anchor="ctr" anchorCtr="0"/>
          <a:lstStyle>
            <a:lvl1pPr>
              <a:lnSpc>
                <a:spcPct val="100000"/>
              </a:lnSpc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US"/>
              <a:t>Divider title are 36pt Arial Bold sentence case</a:t>
            </a:r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D381AB1C-94E0-88DE-B7FB-AF548E53C01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35585" y="5760594"/>
            <a:ext cx="2247900" cy="406400"/>
          </a:xfrm>
          <a:prstGeom prst="rect">
            <a:avLst/>
          </a:prstGeom>
        </p:spPr>
      </p:pic>
      <p:sp>
        <p:nvSpPr>
          <p:cNvPr id="20" name="Freeform: Shape 19">
            <a:extLst>
              <a:ext uri="{FF2B5EF4-FFF2-40B4-BE49-F238E27FC236}">
                <a16:creationId xmlns:a16="http://schemas.microsoft.com/office/drawing/2014/main" id="{E20C9601-4C00-1F60-ACBA-FDEED78A2031}"/>
              </a:ext>
            </a:extLst>
          </p:cNvPr>
          <p:cNvSpPr>
            <a:spLocks/>
          </p:cNvSpPr>
          <p:nvPr userDrawn="1"/>
        </p:nvSpPr>
        <p:spPr bwMode="auto">
          <a:xfrm>
            <a:off x="11012739" y="-38910"/>
            <a:ext cx="1224656" cy="1829007"/>
          </a:xfrm>
          <a:custGeom>
            <a:avLst/>
            <a:gdLst>
              <a:gd name="connsiteX0" fmla="*/ 153315 w 1224656"/>
              <a:gd name="connsiteY0" fmla="*/ 0 h 1829007"/>
              <a:gd name="connsiteX1" fmla="*/ 1224656 w 1224656"/>
              <a:gd name="connsiteY1" fmla="*/ 0 h 1829007"/>
              <a:gd name="connsiteX2" fmla="*/ 1224656 w 1224656"/>
              <a:gd name="connsiteY2" fmla="*/ 1829007 h 1829007"/>
              <a:gd name="connsiteX3" fmla="*/ 1154215 w 1224656"/>
              <a:gd name="connsiteY3" fmla="*/ 1758565 h 1829007"/>
              <a:gd name="connsiteX4" fmla="*/ 159544 w 1224656"/>
              <a:gd name="connsiteY4" fmla="*/ 763895 h 1829007"/>
              <a:gd name="connsiteX5" fmla="*/ 89744 w 1224656"/>
              <a:gd name="connsiteY5" fmla="*/ 77872 h 1829007"/>
              <a:gd name="connsiteX0" fmla="*/ 1224656 w 1316096"/>
              <a:gd name="connsiteY0" fmla="*/ 0 h 1829007"/>
              <a:gd name="connsiteX1" fmla="*/ 1224656 w 1316096"/>
              <a:gd name="connsiteY1" fmla="*/ 1829007 h 1829007"/>
              <a:gd name="connsiteX2" fmla="*/ 1154215 w 1316096"/>
              <a:gd name="connsiteY2" fmla="*/ 1758565 h 1829007"/>
              <a:gd name="connsiteX3" fmla="*/ 159544 w 1316096"/>
              <a:gd name="connsiteY3" fmla="*/ 763895 h 1829007"/>
              <a:gd name="connsiteX4" fmla="*/ 89744 w 1316096"/>
              <a:gd name="connsiteY4" fmla="*/ 77872 h 1829007"/>
              <a:gd name="connsiteX5" fmla="*/ 153315 w 1316096"/>
              <a:gd name="connsiteY5" fmla="*/ 0 h 1829007"/>
              <a:gd name="connsiteX6" fmla="*/ 1316096 w 1316096"/>
              <a:gd name="connsiteY6" fmla="*/ 91440 h 1829007"/>
              <a:gd name="connsiteX0" fmla="*/ 1224656 w 1224656"/>
              <a:gd name="connsiteY0" fmla="*/ 0 h 1829007"/>
              <a:gd name="connsiteX1" fmla="*/ 1224656 w 1224656"/>
              <a:gd name="connsiteY1" fmla="*/ 1829007 h 1829007"/>
              <a:gd name="connsiteX2" fmla="*/ 1154215 w 1224656"/>
              <a:gd name="connsiteY2" fmla="*/ 1758565 h 1829007"/>
              <a:gd name="connsiteX3" fmla="*/ 159544 w 1224656"/>
              <a:gd name="connsiteY3" fmla="*/ 763895 h 1829007"/>
              <a:gd name="connsiteX4" fmla="*/ 89744 w 1224656"/>
              <a:gd name="connsiteY4" fmla="*/ 77872 h 1829007"/>
              <a:gd name="connsiteX5" fmla="*/ 153315 w 1224656"/>
              <a:gd name="connsiteY5" fmla="*/ 0 h 1829007"/>
              <a:gd name="connsiteX0" fmla="*/ 1224656 w 1224656"/>
              <a:gd name="connsiteY0" fmla="*/ 1829007 h 1829007"/>
              <a:gd name="connsiteX1" fmla="*/ 1154215 w 1224656"/>
              <a:gd name="connsiteY1" fmla="*/ 1758565 h 1829007"/>
              <a:gd name="connsiteX2" fmla="*/ 159544 w 1224656"/>
              <a:gd name="connsiteY2" fmla="*/ 763895 h 1829007"/>
              <a:gd name="connsiteX3" fmla="*/ 89744 w 1224656"/>
              <a:gd name="connsiteY3" fmla="*/ 77872 h 1829007"/>
              <a:gd name="connsiteX4" fmla="*/ 153315 w 1224656"/>
              <a:gd name="connsiteY4" fmla="*/ 0 h 18290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24656" h="1829007">
                <a:moveTo>
                  <a:pt x="1224656" y="1829007"/>
                </a:moveTo>
                <a:lnTo>
                  <a:pt x="1154215" y="1758565"/>
                </a:lnTo>
                <a:lnTo>
                  <a:pt x="159544" y="763895"/>
                </a:lnTo>
                <a:cubicBezTo>
                  <a:pt x="-26590" y="577761"/>
                  <a:pt x="-49857" y="289530"/>
                  <a:pt x="89744" y="77872"/>
                </a:cubicBezTo>
                <a:lnTo>
                  <a:pt x="153315" y="0"/>
                </a:lnTo>
              </a:path>
            </a:pathLst>
          </a:custGeom>
          <a:noFill/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lvl="0"/>
            <a:endParaRPr lang="en-US" sz="1600"/>
          </a:p>
        </p:txBody>
      </p:sp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30699829-9421-BC32-D008-18D3C6101425}"/>
              </a:ext>
            </a:extLst>
          </p:cNvPr>
          <p:cNvSpPr>
            <a:spLocks/>
          </p:cNvSpPr>
          <p:nvPr userDrawn="1"/>
        </p:nvSpPr>
        <p:spPr bwMode="auto">
          <a:xfrm rot="2700000">
            <a:off x="9141640" y="1040337"/>
            <a:ext cx="3187991" cy="3194255"/>
          </a:xfrm>
          <a:custGeom>
            <a:avLst/>
            <a:gdLst>
              <a:gd name="connsiteX0" fmla="*/ 159586 w 3187991"/>
              <a:gd name="connsiteY0" fmla="*/ 159586 h 3194255"/>
              <a:gd name="connsiteX1" fmla="*/ 544860 w 3187991"/>
              <a:gd name="connsiteY1" fmla="*/ 0 h 3194255"/>
              <a:gd name="connsiteX2" fmla="*/ 2056479 w 3187991"/>
              <a:gd name="connsiteY2" fmla="*/ 0 h 3194255"/>
              <a:gd name="connsiteX3" fmla="*/ 3187991 w 3187991"/>
              <a:gd name="connsiteY3" fmla="*/ 1131513 h 3194255"/>
              <a:gd name="connsiteX4" fmla="*/ 3187991 w 3187991"/>
              <a:gd name="connsiteY4" fmla="*/ 2649395 h 3194255"/>
              <a:gd name="connsiteX5" fmla="*/ 2643131 w 3187991"/>
              <a:gd name="connsiteY5" fmla="*/ 3194255 h 3194255"/>
              <a:gd name="connsiteX6" fmla="*/ 544860 w 3187991"/>
              <a:gd name="connsiteY6" fmla="*/ 3194255 h 3194255"/>
              <a:gd name="connsiteX7" fmla="*/ 0 w 3187991"/>
              <a:gd name="connsiteY7" fmla="*/ 2649395 h 3194255"/>
              <a:gd name="connsiteX8" fmla="*/ 0 w 3187991"/>
              <a:gd name="connsiteY8" fmla="*/ 544860 h 3194255"/>
              <a:gd name="connsiteX9" fmla="*/ 159586 w 3187991"/>
              <a:gd name="connsiteY9" fmla="*/ 159586 h 31942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187991" h="3194255">
                <a:moveTo>
                  <a:pt x="159586" y="159586"/>
                </a:moveTo>
                <a:cubicBezTo>
                  <a:pt x="258186" y="60985"/>
                  <a:pt x="394401" y="0"/>
                  <a:pt x="544860" y="0"/>
                </a:cubicBezTo>
                <a:lnTo>
                  <a:pt x="2056479" y="0"/>
                </a:lnTo>
                <a:lnTo>
                  <a:pt x="3187991" y="1131513"/>
                </a:lnTo>
                <a:lnTo>
                  <a:pt x="3187991" y="2649395"/>
                </a:lnTo>
                <a:cubicBezTo>
                  <a:pt x="3187991" y="2950313"/>
                  <a:pt x="2944049" y="3194255"/>
                  <a:pt x="2643131" y="3194255"/>
                </a:cubicBezTo>
                <a:lnTo>
                  <a:pt x="544860" y="3194255"/>
                </a:lnTo>
                <a:cubicBezTo>
                  <a:pt x="243942" y="3194255"/>
                  <a:pt x="0" y="2950313"/>
                  <a:pt x="0" y="2649395"/>
                </a:cubicBezTo>
                <a:lnTo>
                  <a:pt x="0" y="544860"/>
                </a:lnTo>
                <a:cubicBezTo>
                  <a:pt x="0" y="394401"/>
                  <a:pt x="60985" y="258186"/>
                  <a:pt x="159586" y="159586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7109495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2024-04 - IQVI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: Shape 3">
            <a:extLst>
              <a:ext uri="{FF2B5EF4-FFF2-40B4-BE49-F238E27FC236}">
                <a16:creationId xmlns:a16="http://schemas.microsoft.com/office/drawing/2014/main" id="{C8B1F425-7FCC-95EC-889D-1C469BA8156D}"/>
              </a:ext>
            </a:extLst>
          </p:cNvPr>
          <p:cNvSpPr>
            <a:spLocks/>
          </p:cNvSpPr>
          <p:nvPr userDrawn="1"/>
        </p:nvSpPr>
        <p:spPr>
          <a:xfrm rot="2700000">
            <a:off x="8997003" y="-456334"/>
            <a:ext cx="1658711" cy="5443918"/>
          </a:xfrm>
          <a:custGeom>
            <a:avLst/>
            <a:gdLst>
              <a:gd name="connsiteX0" fmla="*/ 291026 w 1987250"/>
              <a:gd name="connsiteY0" fmla="*/ 291026 h 6522188"/>
              <a:gd name="connsiteX1" fmla="*/ 993625 w 1987250"/>
              <a:gd name="connsiteY1" fmla="*/ 0 h 6522188"/>
              <a:gd name="connsiteX2" fmla="*/ 1987250 w 1987250"/>
              <a:gd name="connsiteY2" fmla="*/ 993625 h 6522188"/>
              <a:gd name="connsiteX3" fmla="*/ 1987250 w 1987250"/>
              <a:gd name="connsiteY3" fmla="*/ 5536869 h 6522188"/>
              <a:gd name="connsiteX4" fmla="*/ 1001931 w 1987250"/>
              <a:gd name="connsiteY4" fmla="*/ 6522188 h 6522188"/>
              <a:gd name="connsiteX5" fmla="*/ 0 w 1987250"/>
              <a:gd name="connsiteY5" fmla="*/ 5520256 h 6522188"/>
              <a:gd name="connsiteX6" fmla="*/ 0 w 1987250"/>
              <a:gd name="connsiteY6" fmla="*/ 993625 h 6522188"/>
              <a:gd name="connsiteX7" fmla="*/ 291026 w 1987250"/>
              <a:gd name="connsiteY7" fmla="*/ 291026 h 65221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987250" h="6522188">
                <a:moveTo>
                  <a:pt x="291026" y="291026"/>
                </a:moveTo>
                <a:cubicBezTo>
                  <a:pt x="470837" y="111215"/>
                  <a:pt x="719243" y="0"/>
                  <a:pt x="993625" y="0"/>
                </a:cubicBezTo>
                <a:cubicBezTo>
                  <a:pt x="1542389" y="0"/>
                  <a:pt x="1987250" y="444861"/>
                  <a:pt x="1987250" y="993625"/>
                </a:cubicBezTo>
                <a:lnTo>
                  <a:pt x="1987250" y="5536869"/>
                </a:lnTo>
                <a:lnTo>
                  <a:pt x="1001931" y="6522188"/>
                </a:lnTo>
                <a:lnTo>
                  <a:pt x="0" y="5520256"/>
                </a:lnTo>
                <a:lnTo>
                  <a:pt x="0" y="993625"/>
                </a:lnTo>
                <a:cubicBezTo>
                  <a:pt x="0" y="719243"/>
                  <a:pt x="111216" y="470837"/>
                  <a:pt x="291026" y="291026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algn="l"/>
            <a:endParaRPr lang="en-US" sz="1600" err="1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3D8CB6CB-17D6-9423-37F8-6EFC4880AECC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 bwMode="white">
          <a:xfrm>
            <a:off x="613608" y="1741713"/>
            <a:ext cx="5071843" cy="3374574"/>
          </a:xfrm>
          <a:prstGeom prst="rect">
            <a:avLst/>
          </a:prstGeom>
        </p:spPr>
        <p:txBody>
          <a:bodyPr anchor="ctr" anchorCtr="0"/>
          <a:lstStyle>
            <a:lvl1pPr>
              <a:lnSpc>
                <a:spcPct val="100000"/>
              </a:lnSpc>
              <a:defRPr sz="3600" b="1">
                <a:solidFill>
                  <a:schemeClr val="accent2"/>
                </a:solidFill>
              </a:defRPr>
            </a:lvl1pPr>
          </a:lstStyle>
          <a:p>
            <a:r>
              <a:rPr lang="en-US"/>
              <a:t>Divider title are 36pt Arial Bold sentence case</a:t>
            </a:r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8CA16036-B78E-0275-6CA7-911DE4060426}"/>
              </a:ext>
            </a:extLst>
          </p:cNvPr>
          <p:cNvSpPr>
            <a:spLocks/>
          </p:cNvSpPr>
          <p:nvPr userDrawn="1"/>
        </p:nvSpPr>
        <p:spPr>
          <a:xfrm rot="2700000">
            <a:off x="9736981" y="3459243"/>
            <a:ext cx="1658711" cy="3580309"/>
          </a:xfrm>
          <a:prstGeom prst="roundRect">
            <a:avLst>
              <a:gd name="adj" fmla="val 50000"/>
            </a:avLst>
          </a:prstGeom>
          <a:solidFill>
            <a:srgbClr val="7FD1E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lvl="0"/>
            <a:endParaRPr lang="en-US" sz="1600" err="1"/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6BB13D00-4BF1-FD01-6A9F-B1CBB081237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31520" y="812800"/>
            <a:ext cx="2247900" cy="406400"/>
          </a:xfrm>
          <a:prstGeom prst="rect">
            <a:avLst/>
          </a:prstGeom>
        </p:spPr>
      </p:pic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4AE586FF-C25B-AF33-5F15-454F206B533D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640637" y="1828800"/>
            <a:ext cx="4551363" cy="3581400"/>
          </a:xfrm>
          <a:custGeom>
            <a:avLst/>
            <a:gdLst>
              <a:gd name="connsiteX0" fmla="*/ 374319 w 5422900"/>
              <a:gd name="connsiteY0" fmla="*/ 0 h 4267200"/>
              <a:gd name="connsiteX1" fmla="*/ 5422900 w 5422900"/>
              <a:gd name="connsiteY1" fmla="*/ 0 h 4267200"/>
              <a:gd name="connsiteX2" fmla="*/ 5422900 w 5422900"/>
              <a:gd name="connsiteY2" fmla="*/ 4267200 h 4267200"/>
              <a:gd name="connsiteX3" fmla="*/ 374319 w 5422900"/>
              <a:gd name="connsiteY3" fmla="*/ 4267200 h 4267200"/>
              <a:gd name="connsiteX4" fmla="*/ 0 w 5422900"/>
              <a:gd name="connsiteY4" fmla="*/ 3892881 h 4267200"/>
              <a:gd name="connsiteX5" fmla="*/ 0 w 5422900"/>
              <a:gd name="connsiteY5" fmla="*/ 374319 h 4267200"/>
              <a:gd name="connsiteX6" fmla="*/ 374319 w 5422900"/>
              <a:gd name="connsiteY6" fmla="*/ 0 h 4267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422900" h="4267200">
                <a:moveTo>
                  <a:pt x="374319" y="0"/>
                </a:moveTo>
                <a:lnTo>
                  <a:pt x="5422900" y="0"/>
                </a:lnTo>
                <a:lnTo>
                  <a:pt x="5422900" y="4267200"/>
                </a:lnTo>
                <a:lnTo>
                  <a:pt x="374319" y="4267200"/>
                </a:lnTo>
                <a:cubicBezTo>
                  <a:pt x="167588" y="4267200"/>
                  <a:pt x="0" y="4099612"/>
                  <a:pt x="0" y="3892881"/>
                </a:cubicBezTo>
                <a:lnTo>
                  <a:pt x="0" y="374319"/>
                </a:lnTo>
                <a:cubicBezTo>
                  <a:pt x="0" y="167588"/>
                  <a:pt x="167588" y="0"/>
                  <a:pt x="374319" y="0"/>
                </a:cubicBezTo>
                <a:close/>
              </a:path>
            </a:pathLst>
          </a:custGeom>
          <a:blipFill>
            <a:blip r:embed="rId4"/>
            <a:stretch>
              <a:fillRect/>
            </a:stretch>
          </a:blipFill>
        </p:spPr>
        <p:txBody>
          <a:bodyPr wrap="square" anchor="ctr">
            <a:noAutofit/>
          </a:bodyPr>
          <a:lstStyle>
            <a:lvl1pPr marL="0" indent="0" algn="ctr">
              <a:buFontTx/>
              <a:buNone/>
              <a:defRPr sz="1800" b="0">
                <a:solidFill>
                  <a:srgbClr val="FF0000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="1">
                <a:solidFill>
                  <a:srgbClr val="FF0000"/>
                </a:solidFill>
              </a:rPr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74279119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2024-05 - IQVI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Title 1">
            <a:extLst>
              <a:ext uri="{FF2B5EF4-FFF2-40B4-BE49-F238E27FC236}">
                <a16:creationId xmlns:a16="http://schemas.microsoft.com/office/drawing/2014/main" id="{9BE82380-4E70-46AE-92D4-098EF81513C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white">
          <a:xfrm>
            <a:off x="613608" y="609600"/>
            <a:ext cx="6202680" cy="4678205"/>
          </a:xfrm>
          <a:prstGeom prst="rect">
            <a:avLst/>
          </a:prstGeom>
        </p:spPr>
        <p:txBody>
          <a:bodyPr anchor="ctr" anchorCtr="0"/>
          <a:lstStyle>
            <a:lvl1pPr>
              <a:lnSpc>
                <a:spcPct val="100000"/>
              </a:lnSpc>
              <a:defRPr sz="3600" b="1">
                <a:solidFill>
                  <a:schemeClr val="accent2"/>
                </a:solidFill>
              </a:defRPr>
            </a:lvl1pPr>
          </a:lstStyle>
          <a:p>
            <a:r>
              <a:rPr lang="en-US"/>
              <a:t>Divider title are 36pt Arial Bold sentence case</a:t>
            </a:r>
          </a:p>
        </p:txBody>
      </p:sp>
      <p:pic>
        <p:nvPicPr>
          <p:cNvPr id="26" name="Graphic 25">
            <a:extLst>
              <a:ext uri="{FF2B5EF4-FFF2-40B4-BE49-F238E27FC236}">
                <a16:creationId xmlns:a16="http://schemas.microsoft.com/office/drawing/2014/main" id="{889AB6EA-4B7F-D626-10ED-8532995C414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35585" y="5760594"/>
            <a:ext cx="2247900" cy="406400"/>
          </a:xfrm>
          <a:prstGeom prst="rect">
            <a:avLst/>
          </a:prstGeom>
        </p:spPr>
      </p:pic>
      <p:sp>
        <p:nvSpPr>
          <p:cNvPr id="15" name="Freeform: Shape 14">
            <a:extLst>
              <a:ext uri="{FF2B5EF4-FFF2-40B4-BE49-F238E27FC236}">
                <a16:creationId xmlns:a16="http://schemas.microsoft.com/office/drawing/2014/main" id="{9480E36D-D806-7D05-D8DC-4ADC176E28F1}"/>
              </a:ext>
            </a:extLst>
          </p:cNvPr>
          <p:cNvSpPr/>
          <p:nvPr userDrawn="1"/>
        </p:nvSpPr>
        <p:spPr>
          <a:xfrm rot="13473600">
            <a:off x="9007218" y="-739919"/>
            <a:ext cx="2599744" cy="5533217"/>
          </a:xfrm>
          <a:custGeom>
            <a:avLst/>
            <a:gdLst>
              <a:gd name="connsiteX0" fmla="*/ 1378880 w 2599744"/>
              <a:gd name="connsiteY0" fmla="*/ 5533217 h 5533217"/>
              <a:gd name="connsiteX1" fmla="*/ 0 w 2599744"/>
              <a:gd name="connsiteY1" fmla="*/ 4132994 h 5533217"/>
              <a:gd name="connsiteX2" fmla="*/ 0 w 2599744"/>
              <a:gd name="connsiteY2" fmla="*/ 1299873 h 5533217"/>
              <a:gd name="connsiteX3" fmla="*/ 1299872 w 2599744"/>
              <a:gd name="connsiteY3" fmla="*/ 0 h 5533217"/>
              <a:gd name="connsiteX4" fmla="*/ 2599744 w 2599744"/>
              <a:gd name="connsiteY4" fmla="*/ 1299872 h 5533217"/>
              <a:gd name="connsiteX5" fmla="*/ 2599744 w 2599744"/>
              <a:gd name="connsiteY5" fmla="*/ 4330962 h 55332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599744" h="5533217">
                <a:moveTo>
                  <a:pt x="1378880" y="5533217"/>
                </a:moveTo>
                <a:lnTo>
                  <a:pt x="0" y="4132994"/>
                </a:lnTo>
                <a:lnTo>
                  <a:pt x="0" y="1299873"/>
                </a:lnTo>
                <a:cubicBezTo>
                  <a:pt x="0" y="581972"/>
                  <a:pt x="581972" y="0"/>
                  <a:pt x="1299872" y="0"/>
                </a:cubicBezTo>
                <a:cubicBezTo>
                  <a:pt x="2017771" y="0"/>
                  <a:pt x="2599744" y="581973"/>
                  <a:pt x="2599744" y="1299872"/>
                </a:cubicBezTo>
                <a:lnTo>
                  <a:pt x="2599744" y="4330962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algn="l"/>
            <a:endParaRPr lang="en-US" sz="1600" err="1"/>
          </a:p>
        </p:txBody>
      </p:sp>
      <p:sp>
        <p:nvSpPr>
          <p:cNvPr id="7" name="Freeform: Shape 6">
            <a:extLst>
              <a:ext uri="{FF2B5EF4-FFF2-40B4-BE49-F238E27FC236}">
                <a16:creationId xmlns:a16="http://schemas.microsoft.com/office/drawing/2014/main" id="{B79252B4-99CA-3419-840E-DA516CC6BEBB}"/>
              </a:ext>
            </a:extLst>
          </p:cNvPr>
          <p:cNvSpPr/>
          <p:nvPr userDrawn="1"/>
        </p:nvSpPr>
        <p:spPr>
          <a:xfrm rot="20457708">
            <a:off x="11186621" y="-13688"/>
            <a:ext cx="660198" cy="358286"/>
          </a:xfrm>
          <a:custGeom>
            <a:avLst/>
            <a:gdLst>
              <a:gd name="connsiteX0" fmla="*/ 318178 w 660198"/>
              <a:gd name="connsiteY0" fmla="*/ 0 h 358286"/>
              <a:gd name="connsiteX1" fmla="*/ 660198 w 660198"/>
              <a:gd name="connsiteY1" fmla="*/ 118023 h 358286"/>
              <a:gd name="connsiteX2" fmla="*/ 229425 w 660198"/>
              <a:gd name="connsiteY2" fmla="*/ 330222 h 358286"/>
              <a:gd name="connsiteX3" fmla="*/ 13408 w 660198"/>
              <a:gd name="connsiteY3" fmla="*/ 296211 h 358286"/>
              <a:gd name="connsiteX4" fmla="*/ 11570 w 660198"/>
              <a:gd name="connsiteY4" fmla="*/ 291615 h 358286"/>
              <a:gd name="connsiteX5" fmla="*/ 116362 w 660198"/>
              <a:gd name="connsiteY5" fmla="*/ 99498 h 3582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60198" h="358286">
                <a:moveTo>
                  <a:pt x="318178" y="0"/>
                </a:moveTo>
                <a:lnTo>
                  <a:pt x="660198" y="118023"/>
                </a:lnTo>
                <a:lnTo>
                  <a:pt x="229425" y="330222"/>
                </a:lnTo>
                <a:cubicBezTo>
                  <a:pt x="69481" y="409276"/>
                  <a:pt x="13408" y="296211"/>
                  <a:pt x="13408" y="296211"/>
                </a:cubicBezTo>
                <a:lnTo>
                  <a:pt x="11570" y="291615"/>
                </a:lnTo>
                <a:cubicBezTo>
                  <a:pt x="-43583" y="178552"/>
                  <a:pt x="116362" y="99498"/>
                  <a:pt x="116362" y="99498"/>
                </a:cubicBezTo>
                <a:close/>
              </a:path>
            </a:pathLst>
          </a:custGeom>
          <a:solidFill>
            <a:schemeClr val="accent5"/>
          </a:solidFill>
          <a:ln w="12700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ru-RU"/>
          </a:p>
        </p:txBody>
      </p:sp>
      <p:sp>
        <p:nvSpPr>
          <p:cNvPr id="5" name="Freeform: Shape 4">
            <a:extLst>
              <a:ext uri="{FF2B5EF4-FFF2-40B4-BE49-F238E27FC236}">
                <a16:creationId xmlns:a16="http://schemas.microsoft.com/office/drawing/2014/main" id="{2BAC8301-D0B3-F09B-8934-4C4BF853D744}"/>
              </a:ext>
            </a:extLst>
          </p:cNvPr>
          <p:cNvSpPr/>
          <p:nvPr userDrawn="1"/>
        </p:nvSpPr>
        <p:spPr>
          <a:xfrm rot="2700000">
            <a:off x="9373836" y="-702513"/>
            <a:ext cx="780382" cy="2913053"/>
          </a:xfrm>
          <a:custGeom>
            <a:avLst/>
            <a:gdLst>
              <a:gd name="connsiteX0" fmla="*/ 0 w 780382"/>
              <a:gd name="connsiteY0" fmla="*/ 780382 h 2913053"/>
              <a:gd name="connsiteX1" fmla="*/ 780382 w 780382"/>
              <a:gd name="connsiteY1" fmla="*/ 0 h 2913053"/>
              <a:gd name="connsiteX2" fmla="*/ 780382 w 780382"/>
              <a:gd name="connsiteY2" fmla="*/ 2522862 h 2913053"/>
              <a:gd name="connsiteX3" fmla="*/ 390191 w 780382"/>
              <a:gd name="connsiteY3" fmla="*/ 2913053 h 2913053"/>
              <a:gd name="connsiteX4" fmla="*/ 0 w 780382"/>
              <a:gd name="connsiteY4" fmla="*/ 2522862 h 29130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80382" h="2913053">
                <a:moveTo>
                  <a:pt x="0" y="780382"/>
                </a:moveTo>
                <a:lnTo>
                  <a:pt x="780382" y="0"/>
                </a:lnTo>
                <a:lnTo>
                  <a:pt x="780382" y="2522862"/>
                </a:lnTo>
                <a:cubicBezTo>
                  <a:pt x="780382" y="2738359"/>
                  <a:pt x="605688" y="2913053"/>
                  <a:pt x="390191" y="2913053"/>
                </a:cubicBezTo>
                <a:cubicBezTo>
                  <a:pt x="174694" y="2913053"/>
                  <a:pt x="0" y="2738359"/>
                  <a:pt x="0" y="2522862"/>
                </a:cubicBezTo>
                <a:close/>
              </a:path>
            </a:pathLst>
          </a:custGeom>
          <a:solidFill>
            <a:schemeClr val="accent1"/>
          </a:solidFill>
          <a:ln w="12700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lvl="0"/>
            <a:endParaRPr lang="en-US" err="1">
              <a:solidFill>
                <a:schemeClr val="tx1"/>
              </a:solidFill>
            </a:endParaRPr>
          </a:p>
        </p:txBody>
      </p:sp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F103DB20-CA44-5144-7694-2FBF81D0EACA}"/>
              </a:ext>
            </a:extLst>
          </p:cNvPr>
          <p:cNvSpPr/>
          <p:nvPr userDrawn="1"/>
        </p:nvSpPr>
        <p:spPr>
          <a:xfrm rot="2700000">
            <a:off x="11469147" y="2339446"/>
            <a:ext cx="1193519" cy="1550166"/>
          </a:xfrm>
          <a:custGeom>
            <a:avLst/>
            <a:gdLst>
              <a:gd name="connsiteX0" fmla="*/ 0 w 1193519"/>
              <a:gd name="connsiteY0" fmla="*/ 0 h 1550166"/>
              <a:gd name="connsiteX1" fmla="*/ 1193519 w 1193519"/>
              <a:gd name="connsiteY1" fmla="*/ 1193519 h 1550166"/>
              <a:gd name="connsiteX2" fmla="*/ 1150445 w 1193519"/>
              <a:gd name="connsiteY2" fmla="*/ 1272877 h 1550166"/>
              <a:gd name="connsiteX3" fmla="*/ 628928 w 1193519"/>
              <a:gd name="connsiteY3" fmla="*/ 1550166 h 1550166"/>
              <a:gd name="connsiteX4" fmla="*/ 0 w 1193519"/>
              <a:gd name="connsiteY4" fmla="*/ 921238 h 15501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93519" h="1550166">
                <a:moveTo>
                  <a:pt x="0" y="0"/>
                </a:moveTo>
                <a:lnTo>
                  <a:pt x="1193519" y="1193519"/>
                </a:lnTo>
                <a:lnTo>
                  <a:pt x="1150445" y="1272877"/>
                </a:lnTo>
                <a:cubicBezTo>
                  <a:pt x="1037422" y="1440173"/>
                  <a:pt x="846020" y="1550166"/>
                  <a:pt x="628928" y="1550166"/>
                </a:cubicBezTo>
                <a:cubicBezTo>
                  <a:pt x="281581" y="1550166"/>
                  <a:pt x="0" y="1268585"/>
                  <a:pt x="0" y="921238"/>
                </a:cubicBezTo>
                <a:close/>
              </a:path>
            </a:pathLst>
          </a:custGeom>
          <a:solidFill>
            <a:schemeClr val="accent5"/>
          </a:solidFill>
          <a:ln w="12700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lvl="0"/>
            <a:endParaRPr lang="en-US" err="1"/>
          </a:p>
        </p:txBody>
      </p:sp>
    </p:spTree>
    <p:extLst>
      <p:ext uri="{BB962C8B-B14F-4D97-AF65-F5344CB8AC3E}">
        <p14:creationId xmlns:p14="http://schemas.microsoft.com/office/powerpoint/2010/main" val="428983221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2024-06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5E971393-FE1D-3B6A-5952-3200539F4C21}"/>
              </a:ext>
            </a:extLst>
          </p:cNvPr>
          <p:cNvSpPr/>
          <p:nvPr userDrawn="1"/>
        </p:nvSpPr>
        <p:spPr>
          <a:xfrm rot="18900000">
            <a:off x="9590939" y="-1090570"/>
            <a:ext cx="3074362" cy="4401184"/>
          </a:xfrm>
          <a:custGeom>
            <a:avLst/>
            <a:gdLst>
              <a:gd name="connsiteX0" fmla="*/ 906398 w 3074362"/>
              <a:gd name="connsiteY0" fmla="*/ 0 h 4401184"/>
              <a:gd name="connsiteX1" fmla="*/ 3074362 w 3074362"/>
              <a:gd name="connsiteY1" fmla="*/ 2167965 h 4401184"/>
              <a:gd name="connsiteX2" fmla="*/ 841143 w 3074362"/>
              <a:gd name="connsiteY2" fmla="*/ 4401184 h 4401184"/>
              <a:gd name="connsiteX3" fmla="*/ 334666 w 3074362"/>
              <a:gd name="connsiteY3" fmla="*/ 4401184 h 4401184"/>
              <a:gd name="connsiteX4" fmla="*/ 0 w 3074362"/>
              <a:gd name="connsiteY4" fmla="*/ 4066518 h 4401184"/>
              <a:gd name="connsiteX5" fmla="*/ 0 w 3074362"/>
              <a:gd name="connsiteY5" fmla="*/ 334667 h 4401184"/>
              <a:gd name="connsiteX6" fmla="*/ 334666 w 3074362"/>
              <a:gd name="connsiteY6" fmla="*/ 0 h 44011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074362" h="4401184">
                <a:moveTo>
                  <a:pt x="906398" y="0"/>
                </a:moveTo>
                <a:lnTo>
                  <a:pt x="3074362" y="2167965"/>
                </a:lnTo>
                <a:lnTo>
                  <a:pt x="841143" y="4401184"/>
                </a:lnTo>
                <a:lnTo>
                  <a:pt x="334666" y="4401184"/>
                </a:lnTo>
                <a:cubicBezTo>
                  <a:pt x="149835" y="4401184"/>
                  <a:pt x="0" y="4251349"/>
                  <a:pt x="0" y="4066518"/>
                </a:cubicBezTo>
                <a:lnTo>
                  <a:pt x="0" y="334667"/>
                </a:lnTo>
                <a:cubicBezTo>
                  <a:pt x="0" y="149835"/>
                  <a:pt x="149835" y="0"/>
                  <a:pt x="334666" y="0"/>
                </a:cubicBezTo>
                <a:close/>
              </a:path>
            </a:pathLst>
          </a:custGeom>
          <a:solidFill>
            <a:srgbClr val="140B4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endParaRPr lang="en-US" err="1"/>
          </a:p>
        </p:txBody>
      </p:sp>
      <p:sp>
        <p:nvSpPr>
          <p:cNvPr id="19" name="Freeform: Shape 18">
            <a:extLst>
              <a:ext uri="{FF2B5EF4-FFF2-40B4-BE49-F238E27FC236}">
                <a16:creationId xmlns:a16="http://schemas.microsoft.com/office/drawing/2014/main" id="{FA9D7148-A6F2-CBCC-1252-9028ED2C858C}"/>
              </a:ext>
            </a:extLst>
          </p:cNvPr>
          <p:cNvSpPr/>
          <p:nvPr userDrawn="1"/>
        </p:nvSpPr>
        <p:spPr>
          <a:xfrm rot="2700000">
            <a:off x="6613319" y="-912201"/>
            <a:ext cx="3072335" cy="3072335"/>
          </a:xfrm>
          <a:custGeom>
            <a:avLst/>
            <a:gdLst>
              <a:gd name="connsiteX0" fmla="*/ 0 w 2777410"/>
              <a:gd name="connsiteY0" fmla="*/ 1975810 h 2777410"/>
              <a:gd name="connsiteX1" fmla="*/ 1975810 w 2777410"/>
              <a:gd name="connsiteY1" fmla="*/ 0 h 2777410"/>
              <a:gd name="connsiteX2" fmla="*/ 2540164 w 2777410"/>
              <a:gd name="connsiteY2" fmla="*/ 0 h 2777410"/>
              <a:gd name="connsiteX3" fmla="*/ 2777410 w 2777410"/>
              <a:gd name="connsiteY3" fmla="*/ 237247 h 2777410"/>
              <a:gd name="connsiteX4" fmla="*/ 2777410 w 2777410"/>
              <a:gd name="connsiteY4" fmla="*/ 2540163 h 2777410"/>
              <a:gd name="connsiteX5" fmla="*/ 2540163 w 2777410"/>
              <a:gd name="connsiteY5" fmla="*/ 2777410 h 2777410"/>
              <a:gd name="connsiteX6" fmla="*/ 237247 w 2777410"/>
              <a:gd name="connsiteY6" fmla="*/ 2777410 h 2777410"/>
              <a:gd name="connsiteX7" fmla="*/ 0 w 2777410"/>
              <a:gd name="connsiteY7" fmla="*/ 2540163 h 27774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777410" h="2777410">
                <a:moveTo>
                  <a:pt x="0" y="1975810"/>
                </a:moveTo>
                <a:lnTo>
                  <a:pt x="1975810" y="0"/>
                </a:lnTo>
                <a:lnTo>
                  <a:pt x="2540164" y="0"/>
                </a:lnTo>
                <a:cubicBezTo>
                  <a:pt x="2671191" y="0"/>
                  <a:pt x="2777410" y="106219"/>
                  <a:pt x="2777410" y="237247"/>
                </a:cubicBezTo>
                <a:lnTo>
                  <a:pt x="2777410" y="2540163"/>
                </a:lnTo>
                <a:cubicBezTo>
                  <a:pt x="2777410" y="2671191"/>
                  <a:pt x="2671191" y="2777410"/>
                  <a:pt x="2540163" y="2777410"/>
                </a:cubicBezTo>
                <a:lnTo>
                  <a:pt x="237247" y="2777410"/>
                </a:lnTo>
                <a:cubicBezTo>
                  <a:pt x="106220" y="2777410"/>
                  <a:pt x="0" y="2671190"/>
                  <a:pt x="0" y="254016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algn="l"/>
            <a:endParaRPr lang="en-US" sz="1600" err="1"/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150474CF-7CCB-20DD-E6E1-8A9CD0E038C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216772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50474CF-7CCB-20DD-E6E1-8A9CD0E038C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1">
            <a:extLst>
              <a:ext uri="{FF2B5EF4-FFF2-40B4-BE49-F238E27FC236}">
                <a16:creationId xmlns:a16="http://schemas.microsoft.com/office/drawing/2014/main" id="{13DC1846-D39B-50FF-487A-FD15579093A3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 bwMode="white">
          <a:xfrm>
            <a:off x="613608" y="2049693"/>
            <a:ext cx="5593080" cy="2758614"/>
          </a:xfrm>
          <a:prstGeom prst="rect">
            <a:avLst/>
          </a:prstGeom>
        </p:spPr>
        <p:txBody>
          <a:bodyPr anchor="ctr" anchorCtr="0"/>
          <a:lstStyle>
            <a:lvl1pPr>
              <a:lnSpc>
                <a:spcPct val="100000"/>
              </a:lnSpc>
              <a:defRPr sz="3600" b="1">
                <a:solidFill>
                  <a:schemeClr val="accent2"/>
                </a:solidFill>
              </a:defRPr>
            </a:lvl1pPr>
          </a:lstStyle>
          <a:p>
            <a:r>
              <a:rPr lang="en-US"/>
              <a:t>Divider title are 36pt Arial Bold sentence case</a:t>
            </a:r>
          </a:p>
        </p:txBody>
      </p:sp>
      <p:sp>
        <p:nvSpPr>
          <p:cNvPr id="17" name="Freeform 7">
            <a:extLst>
              <a:ext uri="{FF2B5EF4-FFF2-40B4-BE49-F238E27FC236}">
                <a16:creationId xmlns:a16="http://schemas.microsoft.com/office/drawing/2014/main" id="{FA3B847E-CEDD-4F28-13DA-54DB86046169}"/>
              </a:ext>
            </a:extLst>
          </p:cNvPr>
          <p:cNvSpPr>
            <a:spLocks/>
          </p:cNvSpPr>
          <p:nvPr userDrawn="1"/>
        </p:nvSpPr>
        <p:spPr bwMode="auto">
          <a:xfrm rot="16200000">
            <a:off x="8579893" y="133677"/>
            <a:ext cx="2515488" cy="2515488"/>
          </a:xfrm>
          <a:custGeom>
            <a:avLst/>
            <a:gdLst>
              <a:gd name="T0" fmla="*/ 724 w 1691"/>
              <a:gd name="T1" fmla="*/ 1624 h 1691"/>
              <a:gd name="T2" fmla="*/ 67 w 1691"/>
              <a:gd name="T3" fmla="*/ 967 h 1691"/>
              <a:gd name="T4" fmla="*/ 67 w 1691"/>
              <a:gd name="T5" fmla="*/ 724 h 1691"/>
              <a:gd name="T6" fmla="*/ 724 w 1691"/>
              <a:gd name="T7" fmla="*/ 67 h 1691"/>
              <a:gd name="T8" fmla="*/ 967 w 1691"/>
              <a:gd name="T9" fmla="*/ 67 h 1691"/>
              <a:gd name="T10" fmla="*/ 1624 w 1691"/>
              <a:gd name="T11" fmla="*/ 724 h 1691"/>
              <a:gd name="T12" fmla="*/ 1624 w 1691"/>
              <a:gd name="T13" fmla="*/ 967 h 1691"/>
              <a:gd name="T14" fmla="*/ 967 w 1691"/>
              <a:gd name="T15" fmla="*/ 1624 h 1691"/>
              <a:gd name="T16" fmla="*/ 724 w 1691"/>
              <a:gd name="T17" fmla="*/ 1624 h 169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1691" h="1691">
                <a:moveTo>
                  <a:pt x="724" y="1624"/>
                </a:moveTo>
                <a:cubicBezTo>
                  <a:pt x="67" y="967"/>
                  <a:pt x="67" y="967"/>
                  <a:pt x="67" y="967"/>
                </a:cubicBezTo>
                <a:cubicBezTo>
                  <a:pt x="0" y="900"/>
                  <a:pt x="0" y="791"/>
                  <a:pt x="67" y="724"/>
                </a:cubicBezTo>
                <a:cubicBezTo>
                  <a:pt x="724" y="67"/>
                  <a:pt x="724" y="67"/>
                  <a:pt x="724" y="67"/>
                </a:cubicBezTo>
                <a:cubicBezTo>
                  <a:pt x="791" y="0"/>
                  <a:pt x="900" y="0"/>
                  <a:pt x="967" y="67"/>
                </a:cubicBezTo>
                <a:cubicBezTo>
                  <a:pt x="1624" y="724"/>
                  <a:pt x="1624" y="724"/>
                  <a:pt x="1624" y="724"/>
                </a:cubicBezTo>
                <a:cubicBezTo>
                  <a:pt x="1691" y="791"/>
                  <a:pt x="1691" y="900"/>
                  <a:pt x="1624" y="967"/>
                </a:cubicBezTo>
                <a:cubicBezTo>
                  <a:pt x="967" y="1624"/>
                  <a:pt x="967" y="1624"/>
                  <a:pt x="967" y="1624"/>
                </a:cubicBezTo>
                <a:cubicBezTo>
                  <a:pt x="900" y="1691"/>
                  <a:pt x="791" y="1691"/>
                  <a:pt x="724" y="1624"/>
                </a:cubicBezTo>
                <a:close/>
              </a:path>
            </a:pathLst>
          </a:custGeom>
          <a:solidFill>
            <a:schemeClr val="accent1"/>
          </a:solidFill>
          <a:ln w="12700">
            <a:solidFill>
              <a:schemeClr val="bg1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" name="AutoShape 3">
            <a:extLst>
              <a:ext uri="{FF2B5EF4-FFF2-40B4-BE49-F238E27FC236}">
                <a16:creationId xmlns:a16="http://schemas.microsoft.com/office/drawing/2014/main" id="{0BB57922-089B-617B-DB05-C881EA21986B}"/>
              </a:ext>
            </a:extLst>
          </p:cNvPr>
          <p:cNvSpPr>
            <a:spLocks noChangeAspect="1" noChangeArrowheads="1" noTextEdit="1"/>
          </p:cNvSpPr>
          <p:nvPr userDrawn="1"/>
        </p:nvSpPr>
        <p:spPr bwMode="auto">
          <a:xfrm rot="16200000">
            <a:off x="7666727" y="-76160"/>
            <a:ext cx="4560732" cy="46577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806C75E6-2F25-C869-52E2-8C5D355F51AF}"/>
              </a:ext>
            </a:extLst>
          </p:cNvPr>
          <p:cNvSpPr>
            <a:spLocks/>
          </p:cNvSpPr>
          <p:nvPr userDrawn="1"/>
        </p:nvSpPr>
        <p:spPr bwMode="auto">
          <a:xfrm rot="18900000">
            <a:off x="8399071" y="-1421668"/>
            <a:ext cx="2843336" cy="2843336"/>
          </a:xfrm>
          <a:custGeom>
            <a:avLst/>
            <a:gdLst>
              <a:gd name="connsiteX0" fmla="*/ 0 w 2843336"/>
              <a:gd name="connsiteY0" fmla="*/ 0 h 2843336"/>
              <a:gd name="connsiteX1" fmla="*/ 2843336 w 2843336"/>
              <a:gd name="connsiteY1" fmla="*/ 2843336 h 2843336"/>
              <a:gd name="connsiteX2" fmla="*/ 268488 w 2843336"/>
              <a:gd name="connsiteY2" fmla="*/ 2843336 h 2843336"/>
              <a:gd name="connsiteX3" fmla="*/ 0 w 2843336"/>
              <a:gd name="connsiteY3" fmla="*/ 2585131 h 2843336"/>
              <a:gd name="connsiteX0" fmla="*/ 2843336 w 2934776"/>
              <a:gd name="connsiteY0" fmla="*/ 2843336 h 2934776"/>
              <a:gd name="connsiteX1" fmla="*/ 268488 w 2934776"/>
              <a:gd name="connsiteY1" fmla="*/ 2843336 h 2934776"/>
              <a:gd name="connsiteX2" fmla="*/ 0 w 2934776"/>
              <a:gd name="connsiteY2" fmla="*/ 2585131 h 2934776"/>
              <a:gd name="connsiteX3" fmla="*/ 0 w 2934776"/>
              <a:gd name="connsiteY3" fmla="*/ 0 h 2934776"/>
              <a:gd name="connsiteX4" fmla="*/ 2934776 w 2934776"/>
              <a:gd name="connsiteY4" fmla="*/ 2934776 h 2934776"/>
              <a:gd name="connsiteX0" fmla="*/ 2843336 w 2843336"/>
              <a:gd name="connsiteY0" fmla="*/ 2843336 h 2843336"/>
              <a:gd name="connsiteX1" fmla="*/ 268488 w 2843336"/>
              <a:gd name="connsiteY1" fmla="*/ 2843336 h 2843336"/>
              <a:gd name="connsiteX2" fmla="*/ 0 w 2843336"/>
              <a:gd name="connsiteY2" fmla="*/ 2585131 h 2843336"/>
              <a:gd name="connsiteX3" fmla="*/ 0 w 2843336"/>
              <a:gd name="connsiteY3" fmla="*/ 0 h 28433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843336" h="2843336">
                <a:moveTo>
                  <a:pt x="2843336" y="2843336"/>
                </a:moveTo>
                <a:lnTo>
                  <a:pt x="268488" y="2843336"/>
                </a:lnTo>
                <a:cubicBezTo>
                  <a:pt x="120207" y="2843336"/>
                  <a:pt x="0" y="2727734"/>
                  <a:pt x="0" y="2585131"/>
                </a:cubicBezTo>
                <a:lnTo>
                  <a:pt x="0" y="0"/>
                </a:lnTo>
              </a:path>
            </a:pathLst>
          </a:custGeom>
          <a:noFill/>
          <a:ln w="12700">
            <a:solidFill>
              <a:schemeClr val="bg1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endParaRPr lang="en-US"/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6A10C533-42F2-F66F-9D74-979D4CA2EBDD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735585" y="5760594"/>
            <a:ext cx="2247900" cy="406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5731824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2024-07 - IQVI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Title 1">
            <a:extLst>
              <a:ext uri="{FF2B5EF4-FFF2-40B4-BE49-F238E27FC236}">
                <a16:creationId xmlns:a16="http://schemas.microsoft.com/office/drawing/2014/main" id="{9BE82380-4E70-46AE-92D4-098EF81513C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white">
          <a:xfrm>
            <a:off x="613608" y="1786095"/>
            <a:ext cx="5071843" cy="3285811"/>
          </a:xfrm>
          <a:prstGeom prst="rect">
            <a:avLst/>
          </a:prstGeom>
        </p:spPr>
        <p:txBody>
          <a:bodyPr anchor="ctr" anchorCtr="0"/>
          <a:lstStyle>
            <a:lvl1pPr>
              <a:lnSpc>
                <a:spcPct val="100000"/>
              </a:lnSpc>
              <a:defRPr sz="3600" b="1">
                <a:solidFill>
                  <a:schemeClr val="accent2"/>
                </a:solidFill>
              </a:defRPr>
            </a:lvl1pPr>
          </a:lstStyle>
          <a:p>
            <a:r>
              <a:rPr lang="en-US"/>
              <a:t>Divider title are 36pt Arial Bold sentence case</a:t>
            </a:r>
          </a:p>
        </p:txBody>
      </p:sp>
      <p:sp>
        <p:nvSpPr>
          <p:cNvPr id="15" name="Freeform: Shape 14">
            <a:extLst>
              <a:ext uri="{FF2B5EF4-FFF2-40B4-BE49-F238E27FC236}">
                <a16:creationId xmlns:a16="http://schemas.microsoft.com/office/drawing/2014/main" id="{FD67CFEF-F865-1F9D-9E2C-67AFFAA0CE63}"/>
              </a:ext>
            </a:extLst>
          </p:cNvPr>
          <p:cNvSpPr/>
          <p:nvPr userDrawn="1"/>
        </p:nvSpPr>
        <p:spPr>
          <a:xfrm rot="900000">
            <a:off x="10293886" y="-208160"/>
            <a:ext cx="964663" cy="4890833"/>
          </a:xfrm>
          <a:custGeom>
            <a:avLst/>
            <a:gdLst>
              <a:gd name="connsiteX0" fmla="*/ 0 w 964663"/>
              <a:gd name="connsiteY0" fmla="*/ 258480 h 4890833"/>
              <a:gd name="connsiteX1" fmla="*/ 964663 w 964663"/>
              <a:gd name="connsiteY1" fmla="*/ 0 h 4890833"/>
              <a:gd name="connsiteX2" fmla="*/ 964663 w 964663"/>
              <a:gd name="connsiteY2" fmla="*/ 4408501 h 4890833"/>
              <a:gd name="connsiteX3" fmla="*/ 482331 w 964663"/>
              <a:gd name="connsiteY3" fmla="*/ 4890833 h 4890833"/>
              <a:gd name="connsiteX4" fmla="*/ 482332 w 964663"/>
              <a:gd name="connsiteY4" fmla="*/ 4890832 h 4890833"/>
              <a:gd name="connsiteX5" fmla="*/ 0 w 964663"/>
              <a:gd name="connsiteY5" fmla="*/ 4408500 h 48908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64663" h="4890833">
                <a:moveTo>
                  <a:pt x="0" y="258480"/>
                </a:moveTo>
                <a:lnTo>
                  <a:pt x="964663" y="0"/>
                </a:lnTo>
                <a:lnTo>
                  <a:pt x="964663" y="4408501"/>
                </a:lnTo>
                <a:cubicBezTo>
                  <a:pt x="964663" y="4674886"/>
                  <a:pt x="748716" y="4890833"/>
                  <a:pt x="482331" y="4890833"/>
                </a:cubicBezTo>
                <a:lnTo>
                  <a:pt x="482332" y="4890832"/>
                </a:lnTo>
                <a:cubicBezTo>
                  <a:pt x="215947" y="4890832"/>
                  <a:pt x="0" y="4674885"/>
                  <a:pt x="0" y="4408500"/>
                </a:cubicBezTo>
                <a:close/>
              </a:path>
            </a:pathLst>
          </a:custGeom>
          <a:solidFill>
            <a:srgbClr val="00CC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algn="l"/>
            <a:endParaRPr lang="en-US" sz="1600" err="1"/>
          </a:p>
        </p:txBody>
      </p:sp>
      <p:sp>
        <p:nvSpPr>
          <p:cNvPr id="18" name="Freeform: Shape 17">
            <a:extLst>
              <a:ext uri="{FF2B5EF4-FFF2-40B4-BE49-F238E27FC236}">
                <a16:creationId xmlns:a16="http://schemas.microsoft.com/office/drawing/2014/main" id="{DBD764AA-01FA-C186-C3E0-47B71F33D2FE}"/>
              </a:ext>
            </a:extLst>
          </p:cNvPr>
          <p:cNvSpPr/>
          <p:nvPr userDrawn="1"/>
        </p:nvSpPr>
        <p:spPr>
          <a:xfrm rot="900000">
            <a:off x="10213216" y="2788075"/>
            <a:ext cx="964664" cy="4267468"/>
          </a:xfrm>
          <a:custGeom>
            <a:avLst/>
            <a:gdLst>
              <a:gd name="connsiteX0" fmla="*/ 385125 w 964664"/>
              <a:gd name="connsiteY0" fmla="*/ 9799 h 4267468"/>
              <a:gd name="connsiteX1" fmla="*/ 482332 w 964664"/>
              <a:gd name="connsiteY1" fmla="*/ 0 h 4267468"/>
              <a:gd name="connsiteX2" fmla="*/ 964664 w 964664"/>
              <a:gd name="connsiteY2" fmla="*/ 482332 h 4267468"/>
              <a:gd name="connsiteX3" fmla="*/ 964663 w 964664"/>
              <a:gd name="connsiteY3" fmla="*/ 4008987 h 4267468"/>
              <a:gd name="connsiteX4" fmla="*/ 0 w 964664"/>
              <a:gd name="connsiteY4" fmla="*/ 4267468 h 4267468"/>
              <a:gd name="connsiteX5" fmla="*/ 0 w 964664"/>
              <a:gd name="connsiteY5" fmla="*/ 482332 h 4267468"/>
              <a:gd name="connsiteX6" fmla="*/ 385125 w 964664"/>
              <a:gd name="connsiteY6" fmla="*/ 9799 h 42674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964664" h="4267468">
                <a:moveTo>
                  <a:pt x="385125" y="9799"/>
                </a:moveTo>
                <a:cubicBezTo>
                  <a:pt x="416524" y="3374"/>
                  <a:pt x="449033" y="0"/>
                  <a:pt x="482332" y="0"/>
                </a:cubicBezTo>
                <a:cubicBezTo>
                  <a:pt x="748717" y="0"/>
                  <a:pt x="964664" y="215947"/>
                  <a:pt x="964664" y="482332"/>
                </a:cubicBezTo>
                <a:lnTo>
                  <a:pt x="964663" y="4008987"/>
                </a:lnTo>
                <a:lnTo>
                  <a:pt x="0" y="4267468"/>
                </a:lnTo>
                <a:lnTo>
                  <a:pt x="0" y="482332"/>
                </a:lnTo>
                <a:cubicBezTo>
                  <a:pt x="0" y="249245"/>
                  <a:pt x="165334" y="54775"/>
                  <a:pt x="385125" y="9799"/>
                </a:cubicBezTo>
                <a:close/>
              </a:path>
            </a:pathLst>
          </a:custGeom>
          <a:solidFill>
            <a:srgbClr val="140B4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algn="l"/>
            <a:endParaRPr lang="en-US" sz="1600" err="1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76F09451-D001-7FD7-10AE-3FDD420C1A42}"/>
              </a:ext>
            </a:extLst>
          </p:cNvPr>
          <p:cNvCxnSpPr>
            <a:cxnSpLocks/>
          </p:cNvCxnSpPr>
          <p:nvPr userDrawn="1"/>
        </p:nvCxnSpPr>
        <p:spPr>
          <a:xfrm flipH="1">
            <a:off x="9810345" y="1"/>
            <a:ext cx="1794438" cy="685800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Graphic 3">
            <a:extLst>
              <a:ext uri="{FF2B5EF4-FFF2-40B4-BE49-F238E27FC236}">
                <a16:creationId xmlns:a16="http://schemas.microsoft.com/office/drawing/2014/main" id="{21C1E0A2-F05B-FF80-96D1-66F6D9FFBBB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43330" y="735457"/>
            <a:ext cx="2247900" cy="406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4727914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losing 2024-01 - IQVIA">
    <p:bg>
      <p:bgPr>
        <a:solidFill>
          <a:srgbClr val="2B3A4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DFA0D13-DE2C-0B2E-321B-37575593958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15000">
                <a:srgbClr val="140B42"/>
              </a:gs>
              <a:gs pos="80000">
                <a:srgbClr val="005587"/>
              </a:gs>
            </a:gsLst>
            <a:lin ang="2700000" scaled="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t" anchorCtr="0"/>
          <a:lstStyle/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GB" sz="1600" b="0" i="0" u="none" strike="noStrike" kern="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</a:endParaRPr>
          </a:p>
        </p:txBody>
      </p:sp>
      <p:sp>
        <p:nvSpPr>
          <p:cNvPr id="60" name="Content Placeholder 2">
            <a:extLst>
              <a:ext uri="{FF2B5EF4-FFF2-40B4-BE49-F238E27FC236}">
                <a16:creationId xmlns:a16="http://schemas.microsoft.com/office/drawing/2014/main" id="{117F4479-AB2F-544F-914C-7C68ABE310F0}"/>
              </a:ext>
            </a:extLst>
          </p:cNvPr>
          <p:cNvSpPr>
            <a:spLocks noGrp="1"/>
          </p:cNvSpPr>
          <p:nvPr>
            <p:ph idx="10" hasCustomPrompt="1"/>
          </p:nvPr>
        </p:nvSpPr>
        <p:spPr>
          <a:xfrm>
            <a:off x="729465" y="3444985"/>
            <a:ext cx="7366571" cy="2455262"/>
          </a:xfrm>
          <a:prstGeom prst="rect">
            <a:avLst/>
          </a:prstGeom>
          <a:noFill/>
        </p:spPr>
        <p:txBody>
          <a:bodyPr/>
          <a:lstStyle>
            <a:lvl1pPr marL="274320" indent="-274320">
              <a:lnSpc>
                <a:spcPct val="100000"/>
              </a:lnSpc>
              <a:spcBef>
                <a:spcPts val="1000"/>
              </a:spcBef>
              <a:defRPr sz="2400">
                <a:solidFill>
                  <a:schemeClr val="bg1"/>
                </a:solidFill>
              </a:defRPr>
            </a:lvl1pPr>
            <a:lvl2pPr marL="548640" indent="-27432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2400">
                <a:solidFill>
                  <a:schemeClr val="bg1"/>
                </a:solidFill>
              </a:defRPr>
            </a:lvl2pPr>
            <a:lvl3pPr marL="822960" indent="-27432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2400">
                <a:solidFill>
                  <a:schemeClr val="bg1"/>
                </a:solidFill>
              </a:defRPr>
            </a:lvl3pPr>
            <a:lvl4pPr marL="1097280" indent="-27432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2400">
                <a:solidFill>
                  <a:schemeClr val="bg1"/>
                </a:solidFill>
              </a:defRPr>
            </a:lvl4pPr>
            <a:lvl5pPr marL="1371600" indent="-27432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2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Arial 24pt bullet level 1</a:t>
            </a:r>
          </a:p>
          <a:p>
            <a:pPr lvl="1"/>
            <a:r>
              <a:rPr lang="en-US"/>
              <a:t>Arial 24pt bullet level 2</a:t>
            </a:r>
          </a:p>
          <a:p>
            <a:pPr lvl="2"/>
            <a:r>
              <a:rPr lang="en-US"/>
              <a:t>Arial 24pt bullet level 3</a:t>
            </a:r>
          </a:p>
          <a:p>
            <a:pPr lvl="3"/>
            <a:r>
              <a:rPr lang="en-US"/>
              <a:t>Arial 24pt bullet level 4</a:t>
            </a:r>
          </a:p>
          <a:p>
            <a:pPr lvl="4"/>
            <a:r>
              <a:rPr lang="en-US"/>
              <a:t>Arial 24pt bullet level 5</a:t>
            </a:r>
          </a:p>
        </p:txBody>
      </p:sp>
      <p:sp>
        <p:nvSpPr>
          <p:cNvPr id="62" name="Title 1">
            <a:extLst>
              <a:ext uri="{FF2B5EF4-FFF2-40B4-BE49-F238E27FC236}">
                <a16:creationId xmlns:a16="http://schemas.microsoft.com/office/drawing/2014/main" id="{77FA37B5-B8A2-E447-B5FC-531DD50C185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29468" y="1732724"/>
            <a:ext cx="7366570" cy="1441434"/>
          </a:xfrm>
          <a:prstGeom prst="rect">
            <a:avLst/>
          </a:prstGeom>
          <a:noFill/>
        </p:spPr>
        <p:txBody>
          <a:bodyPr anchor="t" anchorCtr="0"/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osing slides are 36pt Arial Bold sentence case</a:t>
            </a:r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29E62D4C-ACB0-644F-9042-ADF3C890FE3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43330" y="735457"/>
            <a:ext cx="2247900" cy="406400"/>
          </a:xfrm>
          <a:prstGeom prst="rect">
            <a:avLst/>
          </a:prstGeom>
        </p:spPr>
      </p:pic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1A98B7FB-F81B-0F0F-0117-346EEF4FB1F8}"/>
              </a:ext>
            </a:extLst>
          </p:cNvPr>
          <p:cNvSpPr/>
          <p:nvPr userDrawn="1"/>
        </p:nvSpPr>
        <p:spPr>
          <a:xfrm rot="900000">
            <a:off x="9715683" y="-260958"/>
            <a:ext cx="1280686" cy="5763907"/>
          </a:xfrm>
          <a:custGeom>
            <a:avLst/>
            <a:gdLst>
              <a:gd name="connsiteX0" fmla="*/ 1 w 1280686"/>
              <a:gd name="connsiteY0" fmla="*/ 340079 h 5763907"/>
              <a:gd name="connsiteX1" fmla="*/ 1269193 w 1280686"/>
              <a:gd name="connsiteY1" fmla="*/ 0 h 5763907"/>
              <a:gd name="connsiteX2" fmla="*/ 1280686 w 1280686"/>
              <a:gd name="connsiteY2" fmla="*/ 114005 h 5763907"/>
              <a:gd name="connsiteX3" fmla="*/ 1280685 w 1280686"/>
              <a:gd name="connsiteY3" fmla="*/ 5123564 h 5763907"/>
              <a:gd name="connsiteX4" fmla="*/ 640342 w 1280686"/>
              <a:gd name="connsiteY4" fmla="*/ 5763907 h 5763907"/>
              <a:gd name="connsiteX5" fmla="*/ 640343 w 1280686"/>
              <a:gd name="connsiteY5" fmla="*/ 5763906 h 5763907"/>
              <a:gd name="connsiteX6" fmla="*/ 0 w 1280686"/>
              <a:gd name="connsiteY6" fmla="*/ 5123563 h 57639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80686" h="5763907">
                <a:moveTo>
                  <a:pt x="1" y="340079"/>
                </a:moveTo>
                <a:lnTo>
                  <a:pt x="1269193" y="0"/>
                </a:lnTo>
                <a:lnTo>
                  <a:pt x="1280686" y="114005"/>
                </a:lnTo>
                <a:cubicBezTo>
                  <a:pt x="1280686" y="1783858"/>
                  <a:pt x="1280685" y="3453711"/>
                  <a:pt x="1280685" y="5123564"/>
                </a:cubicBezTo>
                <a:cubicBezTo>
                  <a:pt x="1280685" y="5477216"/>
                  <a:pt x="993994" y="5763907"/>
                  <a:pt x="640342" y="5763907"/>
                </a:cubicBezTo>
                <a:lnTo>
                  <a:pt x="640343" y="5763906"/>
                </a:lnTo>
                <a:cubicBezTo>
                  <a:pt x="286691" y="5763906"/>
                  <a:pt x="0" y="5477215"/>
                  <a:pt x="0" y="5123563"/>
                </a:cubicBezTo>
                <a:close/>
              </a:path>
            </a:pathLst>
          </a:custGeom>
          <a:solidFill>
            <a:srgbClr val="00A3E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algn="l"/>
            <a:endParaRPr lang="en-US" sz="1600" err="1"/>
          </a:p>
        </p:txBody>
      </p:sp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0B589B22-0F8F-EDE6-9F3C-19A3E426F905}"/>
              </a:ext>
            </a:extLst>
          </p:cNvPr>
          <p:cNvSpPr/>
          <p:nvPr userDrawn="1"/>
        </p:nvSpPr>
        <p:spPr>
          <a:xfrm rot="900000">
            <a:off x="10044504" y="2474434"/>
            <a:ext cx="811660" cy="4566401"/>
          </a:xfrm>
          <a:custGeom>
            <a:avLst/>
            <a:gdLst>
              <a:gd name="connsiteX0" fmla="*/ 324041 w 811660"/>
              <a:gd name="connsiteY0" fmla="*/ 8245 h 4566401"/>
              <a:gd name="connsiteX1" fmla="*/ 405830 w 811660"/>
              <a:gd name="connsiteY1" fmla="*/ 0 h 4566401"/>
              <a:gd name="connsiteX2" fmla="*/ 811660 w 811660"/>
              <a:gd name="connsiteY2" fmla="*/ 405830 h 4566401"/>
              <a:gd name="connsiteX3" fmla="*/ 811659 w 811660"/>
              <a:gd name="connsiteY3" fmla="*/ 4348918 h 4566401"/>
              <a:gd name="connsiteX4" fmla="*/ 0 w 811660"/>
              <a:gd name="connsiteY4" fmla="*/ 4566401 h 4566401"/>
              <a:gd name="connsiteX5" fmla="*/ 0 w 811660"/>
              <a:gd name="connsiteY5" fmla="*/ 405830 h 4566401"/>
              <a:gd name="connsiteX6" fmla="*/ 324041 w 811660"/>
              <a:gd name="connsiteY6" fmla="*/ 8245 h 45664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11660" h="4566401">
                <a:moveTo>
                  <a:pt x="324041" y="8245"/>
                </a:moveTo>
                <a:cubicBezTo>
                  <a:pt x="350460" y="2839"/>
                  <a:pt x="377813" y="0"/>
                  <a:pt x="405830" y="0"/>
                </a:cubicBezTo>
                <a:cubicBezTo>
                  <a:pt x="629964" y="0"/>
                  <a:pt x="811660" y="181696"/>
                  <a:pt x="811660" y="405830"/>
                </a:cubicBezTo>
                <a:lnTo>
                  <a:pt x="811659" y="4348918"/>
                </a:lnTo>
                <a:lnTo>
                  <a:pt x="0" y="4566401"/>
                </a:lnTo>
                <a:lnTo>
                  <a:pt x="0" y="405830"/>
                </a:lnTo>
                <a:cubicBezTo>
                  <a:pt x="0" y="209713"/>
                  <a:pt x="139111" y="46087"/>
                  <a:pt x="324041" y="8245"/>
                </a:cubicBezTo>
                <a:close/>
              </a:path>
            </a:pathLst>
          </a:custGeom>
          <a:solidFill>
            <a:srgbClr val="00CC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algn="l"/>
            <a:endParaRPr lang="en-US" sz="1600" err="1"/>
          </a:p>
        </p:txBody>
      </p:sp>
    </p:spTree>
    <p:extLst>
      <p:ext uri="{BB962C8B-B14F-4D97-AF65-F5344CB8AC3E}">
        <p14:creationId xmlns:p14="http://schemas.microsoft.com/office/powerpoint/2010/main" val="352749345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2024-04 - IQVI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angle 19">
            <a:extLst>
              <a:ext uri="{FF2B5EF4-FFF2-40B4-BE49-F238E27FC236}">
                <a16:creationId xmlns:a16="http://schemas.microsoft.com/office/drawing/2014/main" id="{C9141FD9-B1AB-9467-AE12-61BD0B9D329A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20000">
                <a:srgbClr val="005587"/>
              </a:gs>
              <a:gs pos="80000">
                <a:srgbClr val="00A3E0"/>
              </a:gs>
            </a:gsLst>
            <a:lin ang="2700000" scaled="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t" anchorCtr="0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BBA3E6B8-401F-4894-EFB9-D9735958D8E8}"/>
              </a:ext>
            </a:extLst>
          </p:cNvPr>
          <p:cNvSpPr/>
          <p:nvPr userDrawn="1"/>
        </p:nvSpPr>
        <p:spPr>
          <a:xfrm rot="2700000">
            <a:off x="9723652" y="4718086"/>
            <a:ext cx="1514141" cy="3134243"/>
          </a:xfrm>
          <a:custGeom>
            <a:avLst/>
            <a:gdLst>
              <a:gd name="connsiteX0" fmla="*/ 0 w 1514141"/>
              <a:gd name="connsiteY0" fmla="*/ 1514140 h 3134243"/>
              <a:gd name="connsiteX1" fmla="*/ 1514140 w 1514141"/>
              <a:gd name="connsiteY1" fmla="*/ 0 h 3134243"/>
              <a:gd name="connsiteX2" fmla="*/ 1514141 w 1514141"/>
              <a:gd name="connsiteY2" fmla="*/ 1620102 h 3134243"/>
              <a:gd name="connsiteX3" fmla="*/ 0 w 1514141"/>
              <a:gd name="connsiteY3" fmla="*/ 3134243 h 31342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14141" h="3134243">
                <a:moveTo>
                  <a:pt x="0" y="1514140"/>
                </a:moveTo>
                <a:lnTo>
                  <a:pt x="1514140" y="0"/>
                </a:lnTo>
                <a:lnTo>
                  <a:pt x="1514141" y="1620102"/>
                </a:lnTo>
                <a:lnTo>
                  <a:pt x="0" y="3134243"/>
                </a:lnTo>
                <a:close/>
              </a:path>
            </a:pathLst>
          </a:custGeom>
          <a:solidFill>
            <a:srgbClr val="7FD1E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lvl="0"/>
            <a:endParaRPr lang="en-US" sz="1600" err="1"/>
          </a:p>
        </p:txBody>
      </p:sp>
      <p:sp>
        <p:nvSpPr>
          <p:cNvPr id="10" name="Rectangle: Top Corners Rounded 9">
            <a:extLst>
              <a:ext uri="{FF2B5EF4-FFF2-40B4-BE49-F238E27FC236}">
                <a16:creationId xmlns:a16="http://schemas.microsoft.com/office/drawing/2014/main" id="{0B254E66-5B23-8376-EA6C-51BA078AD05B}"/>
              </a:ext>
            </a:extLst>
          </p:cNvPr>
          <p:cNvSpPr/>
          <p:nvPr userDrawn="1"/>
        </p:nvSpPr>
        <p:spPr>
          <a:xfrm rot="13500000">
            <a:off x="9484269" y="5130635"/>
            <a:ext cx="651476" cy="1447800"/>
          </a:xfrm>
          <a:prstGeom prst="round2SameRect">
            <a:avLst>
              <a:gd name="adj1" fmla="val 50000"/>
              <a:gd name="adj2" fmla="val 0"/>
            </a:avLst>
          </a:prstGeom>
          <a:noFill/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err="1"/>
          </a:p>
        </p:txBody>
      </p:sp>
      <p:sp>
        <p:nvSpPr>
          <p:cNvPr id="4" name="Freeform: Shape 3">
            <a:extLst>
              <a:ext uri="{FF2B5EF4-FFF2-40B4-BE49-F238E27FC236}">
                <a16:creationId xmlns:a16="http://schemas.microsoft.com/office/drawing/2014/main" id="{C8B1F425-7FCC-95EC-889D-1C469BA8156D}"/>
              </a:ext>
            </a:extLst>
          </p:cNvPr>
          <p:cNvSpPr/>
          <p:nvPr userDrawn="1"/>
        </p:nvSpPr>
        <p:spPr>
          <a:xfrm rot="2700000">
            <a:off x="8432799" y="-404009"/>
            <a:ext cx="1987250" cy="6522188"/>
          </a:xfrm>
          <a:custGeom>
            <a:avLst/>
            <a:gdLst>
              <a:gd name="connsiteX0" fmla="*/ 291026 w 1987250"/>
              <a:gd name="connsiteY0" fmla="*/ 291026 h 6522188"/>
              <a:gd name="connsiteX1" fmla="*/ 993625 w 1987250"/>
              <a:gd name="connsiteY1" fmla="*/ 0 h 6522188"/>
              <a:gd name="connsiteX2" fmla="*/ 1987250 w 1987250"/>
              <a:gd name="connsiteY2" fmla="*/ 993625 h 6522188"/>
              <a:gd name="connsiteX3" fmla="*/ 1987250 w 1987250"/>
              <a:gd name="connsiteY3" fmla="*/ 5536869 h 6522188"/>
              <a:gd name="connsiteX4" fmla="*/ 1001931 w 1987250"/>
              <a:gd name="connsiteY4" fmla="*/ 6522188 h 6522188"/>
              <a:gd name="connsiteX5" fmla="*/ 0 w 1987250"/>
              <a:gd name="connsiteY5" fmla="*/ 5520256 h 6522188"/>
              <a:gd name="connsiteX6" fmla="*/ 0 w 1987250"/>
              <a:gd name="connsiteY6" fmla="*/ 993625 h 6522188"/>
              <a:gd name="connsiteX7" fmla="*/ 291026 w 1987250"/>
              <a:gd name="connsiteY7" fmla="*/ 291026 h 65221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987250" h="6522188">
                <a:moveTo>
                  <a:pt x="291026" y="291026"/>
                </a:moveTo>
                <a:cubicBezTo>
                  <a:pt x="470837" y="111215"/>
                  <a:pt x="719243" y="0"/>
                  <a:pt x="993625" y="0"/>
                </a:cubicBezTo>
                <a:cubicBezTo>
                  <a:pt x="1542389" y="0"/>
                  <a:pt x="1987250" y="444861"/>
                  <a:pt x="1987250" y="993625"/>
                </a:cubicBezTo>
                <a:lnTo>
                  <a:pt x="1987250" y="5536869"/>
                </a:lnTo>
                <a:lnTo>
                  <a:pt x="1001931" y="6522188"/>
                </a:lnTo>
                <a:lnTo>
                  <a:pt x="0" y="5520256"/>
                </a:lnTo>
                <a:lnTo>
                  <a:pt x="0" y="993625"/>
                </a:lnTo>
                <a:cubicBezTo>
                  <a:pt x="0" y="719243"/>
                  <a:pt x="111216" y="470837"/>
                  <a:pt x="291026" y="291026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algn="l"/>
            <a:endParaRPr lang="en-US" sz="1600" err="1"/>
          </a:p>
        </p:txBody>
      </p:sp>
      <p:sp>
        <p:nvSpPr>
          <p:cNvPr id="11" name="Rectangle: Top Corners Rounded 10">
            <a:extLst>
              <a:ext uri="{FF2B5EF4-FFF2-40B4-BE49-F238E27FC236}">
                <a16:creationId xmlns:a16="http://schemas.microsoft.com/office/drawing/2014/main" id="{D3108861-7328-DB12-4F81-BB23B928A631}"/>
              </a:ext>
            </a:extLst>
          </p:cNvPr>
          <p:cNvSpPr/>
          <p:nvPr userDrawn="1"/>
        </p:nvSpPr>
        <p:spPr>
          <a:xfrm rot="2700000">
            <a:off x="9121183" y="103638"/>
            <a:ext cx="651476" cy="2492719"/>
          </a:xfrm>
          <a:prstGeom prst="round2SameRect">
            <a:avLst>
              <a:gd name="adj1" fmla="val 50000"/>
              <a:gd name="adj2" fmla="val 0"/>
            </a:avLst>
          </a:prstGeom>
          <a:noFill/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err="1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4323CF0F-9A82-87BC-E359-747ED7A2C5ED}"/>
              </a:ext>
            </a:extLst>
          </p:cNvPr>
          <p:cNvPicPr>
            <a:picLocks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41709"/>
          <a:stretch/>
        </p:blipFill>
        <p:spPr>
          <a:xfrm>
            <a:off x="731520" y="812800"/>
            <a:ext cx="2247900" cy="406400"/>
          </a:xfrm>
          <a:prstGeom prst="rect">
            <a:avLst/>
          </a:prstGeom>
        </p:spPr>
      </p:pic>
      <p:sp>
        <p:nvSpPr>
          <p:cNvPr id="13" name="Text Placeholder 21">
            <a:extLst>
              <a:ext uri="{FF2B5EF4-FFF2-40B4-BE49-F238E27FC236}">
                <a16:creationId xmlns:a16="http://schemas.microsoft.com/office/drawing/2014/main" id="{EF0DFE2A-76D5-74DB-5A41-BA634A097ED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13608" y="4175059"/>
            <a:ext cx="5847081" cy="119580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400" b="0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heads are 24pt Arial Italic sentence case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5B02D114-3397-DC1A-7731-F1F0FFF234F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13608" y="1918354"/>
            <a:ext cx="5847081" cy="2088828"/>
          </a:xfrm>
          <a:prstGeom prst="rect">
            <a:avLst/>
          </a:prstGeom>
        </p:spPr>
        <p:txBody>
          <a:bodyPr anchor="b" anchorCtr="0"/>
          <a:lstStyle>
            <a:lvl1pPr algn="l">
              <a:lnSpc>
                <a:spcPct val="100000"/>
              </a:lnSpc>
              <a:defRPr sz="3600" b="1" i="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Headline 36pt Arial Bold Title Case and Can be 3 Lines</a:t>
            </a:r>
          </a:p>
        </p:txBody>
      </p:sp>
      <p:sp>
        <p:nvSpPr>
          <p:cNvPr id="15" name="Subtitle 2">
            <a:extLst>
              <a:ext uri="{FF2B5EF4-FFF2-40B4-BE49-F238E27FC236}">
                <a16:creationId xmlns:a16="http://schemas.microsoft.com/office/drawing/2014/main" id="{0C279139-E1CD-417D-F2DC-0ECDF9271B9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13608" y="5518464"/>
            <a:ext cx="4983481" cy="669272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200"/>
              </a:spcBef>
              <a:buNone/>
              <a:defRPr sz="160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Author First Last Name, Title 16pt Arial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B795ADEF-DFE7-7A95-ACDE-93A739BB8442}"/>
              </a:ext>
            </a:extLst>
          </p:cNvPr>
          <p:cNvSpPr txBox="1"/>
          <p:nvPr userDrawn="1"/>
        </p:nvSpPr>
        <p:spPr bwMode="black">
          <a:xfrm>
            <a:off x="613608" y="6367152"/>
            <a:ext cx="4495800" cy="338554"/>
          </a:xfrm>
          <a:prstGeom prst="rect">
            <a:avLst/>
          </a:prstGeom>
          <a:ln>
            <a:noFill/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rgbClr val="7FD1EF"/>
                </a:solidFill>
                <a:ea typeface="Arial" charset="0"/>
                <a:cs typeface="Arial" charset="0"/>
              </a:rPr>
              <a:t>© 2025. All rights reserved. IQVIA</a:t>
            </a:r>
            <a:r>
              <a:rPr lang="en-US" sz="800" baseline="30000">
                <a:solidFill>
                  <a:srgbClr val="7FD1EF"/>
                </a:solidFill>
                <a:ea typeface="Arial" charset="0"/>
                <a:cs typeface="Arial" charset="0"/>
              </a:rPr>
              <a:t>®</a:t>
            </a:r>
            <a:r>
              <a:rPr lang="en-US" sz="800">
                <a:solidFill>
                  <a:srgbClr val="7FD1EF"/>
                </a:solidFill>
                <a:ea typeface="Arial" charset="0"/>
                <a:cs typeface="Arial" charset="0"/>
              </a:rPr>
              <a:t> is a registered trademark of IQVIA Inc. in the United States, the European Union, and various other countries. 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7BE79103-E87B-C357-DC48-0711CA04F403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769100" y="1511300"/>
            <a:ext cx="5422900" cy="4267200"/>
          </a:xfrm>
          <a:custGeom>
            <a:avLst/>
            <a:gdLst>
              <a:gd name="connsiteX0" fmla="*/ 374319 w 5422900"/>
              <a:gd name="connsiteY0" fmla="*/ 0 h 4267200"/>
              <a:gd name="connsiteX1" fmla="*/ 5422900 w 5422900"/>
              <a:gd name="connsiteY1" fmla="*/ 0 h 4267200"/>
              <a:gd name="connsiteX2" fmla="*/ 5422900 w 5422900"/>
              <a:gd name="connsiteY2" fmla="*/ 4267200 h 4267200"/>
              <a:gd name="connsiteX3" fmla="*/ 374319 w 5422900"/>
              <a:gd name="connsiteY3" fmla="*/ 4267200 h 4267200"/>
              <a:gd name="connsiteX4" fmla="*/ 0 w 5422900"/>
              <a:gd name="connsiteY4" fmla="*/ 3892881 h 4267200"/>
              <a:gd name="connsiteX5" fmla="*/ 0 w 5422900"/>
              <a:gd name="connsiteY5" fmla="*/ 374319 h 4267200"/>
              <a:gd name="connsiteX6" fmla="*/ 374319 w 5422900"/>
              <a:gd name="connsiteY6" fmla="*/ 0 h 4267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422900" h="4267200">
                <a:moveTo>
                  <a:pt x="374319" y="0"/>
                </a:moveTo>
                <a:lnTo>
                  <a:pt x="5422900" y="0"/>
                </a:lnTo>
                <a:lnTo>
                  <a:pt x="5422900" y="4267200"/>
                </a:lnTo>
                <a:lnTo>
                  <a:pt x="374319" y="4267200"/>
                </a:lnTo>
                <a:cubicBezTo>
                  <a:pt x="167588" y="4267200"/>
                  <a:pt x="0" y="4099612"/>
                  <a:pt x="0" y="3892881"/>
                </a:cubicBezTo>
                <a:lnTo>
                  <a:pt x="0" y="374319"/>
                </a:lnTo>
                <a:cubicBezTo>
                  <a:pt x="0" y="167588"/>
                  <a:pt x="167588" y="0"/>
                  <a:pt x="374319" y="0"/>
                </a:cubicBezTo>
                <a:close/>
              </a:path>
            </a:pathLst>
          </a:custGeom>
          <a:blipFill>
            <a:blip r:embed="rId3"/>
            <a:stretch>
              <a:fillRect/>
            </a:stretch>
          </a:blipFill>
        </p:spPr>
        <p:txBody>
          <a:bodyPr wrap="square" anchor="ctr">
            <a:noAutofit/>
          </a:bodyPr>
          <a:lstStyle>
            <a:lvl1pPr marL="0" indent="0" algn="ctr">
              <a:buFontTx/>
              <a:buNone/>
              <a:defRPr sz="1800" b="0">
                <a:solidFill>
                  <a:srgbClr val="FF0000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="1">
                <a:solidFill>
                  <a:srgbClr val="FF0000"/>
                </a:solidFill>
              </a:rPr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83702587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 2024-05- IQVIA">
    <p:bg>
      <p:bgPr>
        <a:gradFill>
          <a:gsLst>
            <a:gs pos="20000">
              <a:schemeClr val="accent2"/>
            </a:gs>
            <a:gs pos="80000">
              <a:schemeClr val="accent1"/>
            </a:gs>
          </a:gsLst>
          <a:lin ang="27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9BD574E3-8AFF-DFA9-0FCB-ACE4DACD25C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926918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574E3-8AFF-DFA9-0FCB-ACE4DACD25C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4" name="Text Placeholder 21">
            <a:extLst>
              <a:ext uri="{FF2B5EF4-FFF2-40B4-BE49-F238E27FC236}">
                <a16:creationId xmlns:a16="http://schemas.microsoft.com/office/drawing/2014/main" id="{21604DCE-2860-47E1-9A45-B850AE2D525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13608" y="3681765"/>
            <a:ext cx="5368925" cy="119580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400" b="0" i="1">
                <a:solidFill>
                  <a:srgbClr val="BFE8F7"/>
                </a:solidFill>
              </a:defRPr>
            </a:lvl1pPr>
          </a:lstStyle>
          <a:p>
            <a:pPr lvl="0"/>
            <a:r>
              <a:rPr lang="en-US"/>
              <a:t>Subheads are 24pt Arial Italic sentence case and can be 2 lines.</a:t>
            </a:r>
          </a:p>
        </p:txBody>
      </p:sp>
      <p:sp>
        <p:nvSpPr>
          <p:cNvPr id="71" name="Title 1">
            <a:extLst>
              <a:ext uri="{FF2B5EF4-FFF2-40B4-BE49-F238E27FC236}">
                <a16:creationId xmlns:a16="http://schemas.microsoft.com/office/drawing/2014/main" id="{4A4E4609-F19E-4DD3-A900-7CA905D6E6D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13608" y="1517515"/>
            <a:ext cx="5482392" cy="1996373"/>
          </a:xfrm>
          <a:prstGeom prst="rect">
            <a:avLst/>
          </a:prstGeom>
        </p:spPr>
        <p:txBody>
          <a:bodyPr vert="horz" anchor="b" anchorCtr="0"/>
          <a:lstStyle>
            <a:lvl1pPr algn="l">
              <a:lnSpc>
                <a:spcPct val="100000"/>
              </a:lnSpc>
              <a:defRPr sz="3600" b="1" i="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Headline 36pt Arial Bold Title Case Should Be No More Than 2 Lines</a:t>
            </a:r>
          </a:p>
        </p:txBody>
      </p:sp>
      <p:sp>
        <p:nvSpPr>
          <p:cNvPr id="73" name="Subtitle 2">
            <a:extLst>
              <a:ext uri="{FF2B5EF4-FFF2-40B4-BE49-F238E27FC236}">
                <a16:creationId xmlns:a16="http://schemas.microsoft.com/office/drawing/2014/main" id="{BB2AC513-3F13-403A-8294-79335D9E765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13608" y="5518464"/>
            <a:ext cx="5368925" cy="669272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200"/>
              </a:spcBef>
              <a:buNone/>
              <a:defRPr sz="160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Author First Last Name, Title 16pt Arial</a:t>
            </a:r>
          </a:p>
        </p:txBody>
      </p:sp>
      <p:pic>
        <p:nvPicPr>
          <p:cNvPr id="16" name="Graphic 15">
            <a:extLst>
              <a:ext uri="{FF2B5EF4-FFF2-40B4-BE49-F238E27FC236}">
                <a16:creationId xmlns:a16="http://schemas.microsoft.com/office/drawing/2014/main" id="{0A1AF0D6-51EF-1945-B4E8-68EF85E87DF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743330" y="735457"/>
            <a:ext cx="2247900" cy="406400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D274DE7C-EAB9-6B9B-19AB-DEFA4EF622D3}"/>
              </a:ext>
            </a:extLst>
          </p:cNvPr>
          <p:cNvSpPr txBox="1"/>
          <p:nvPr userDrawn="1"/>
        </p:nvSpPr>
        <p:spPr bwMode="black">
          <a:xfrm>
            <a:off x="613608" y="6367152"/>
            <a:ext cx="4495800" cy="338554"/>
          </a:xfrm>
          <a:prstGeom prst="rect">
            <a:avLst/>
          </a:prstGeom>
          <a:ln>
            <a:noFill/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rgbClr val="7FD1EF"/>
                </a:solidFill>
                <a:ea typeface="Arial" charset="0"/>
                <a:cs typeface="Arial" charset="0"/>
              </a:rPr>
              <a:t>© 2025. All rights reserved. IQVIA</a:t>
            </a:r>
            <a:r>
              <a:rPr lang="en-US" sz="800" baseline="30000">
                <a:solidFill>
                  <a:srgbClr val="7FD1EF"/>
                </a:solidFill>
                <a:ea typeface="Arial" charset="0"/>
                <a:cs typeface="Arial" charset="0"/>
              </a:rPr>
              <a:t>®</a:t>
            </a:r>
            <a:r>
              <a:rPr lang="en-US" sz="800">
                <a:solidFill>
                  <a:srgbClr val="7FD1EF"/>
                </a:solidFill>
                <a:ea typeface="Arial" charset="0"/>
                <a:cs typeface="Arial" charset="0"/>
              </a:rPr>
              <a:t> is a registered trademark of IQVIA Inc. in the United States, the European Union, and various other countries. </a:t>
            </a:r>
          </a:p>
        </p:txBody>
      </p:sp>
      <p:sp>
        <p:nvSpPr>
          <p:cNvPr id="8" name="Freeform 5">
            <a:extLst>
              <a:ext uri="{FF2B5EF4-FFF2-40B4-BE49-F238E27FC236}">
                <a16:creationId xmlns:a16="http://schemas.microsoft.com/office/drawing/2014/main" id="{824A7E03-2DC4-A20C-610D-3801615F1648}"/>
              </a:ext>
            </a:extLst>
          </p:cNvPr>
          <p:cNvSpPr>
            <a:spLocks/>
          </p:cNvSpPr>
          <p:nvPr userDrawn="1"/>
        </p:nvSpPr>
        <p:spPr bwMode="auto">
          <a:xfrm>
            <a:off x="5476875" y="3219450"/>
            <a:ext cx="6711950" cy="3638550"/>
          </a:xfrm>
          <a:custGeom>
            <a:avLst/>
            <a:gdLst>
              <a:gd name="T0" fmla="*/ 2114 w 2114"/>
              <a:gd name="T1" fmla="*/ 869 h 1146"/>
              <a:gd name="T2" fmla="*/ 1306 w 2114"/>
              <a:gd name="T3" fmla="*/ 61 h 1146"/>
              <a:gd name="T4" fmla="*/ 1085 w 2114"/>
              <a:gd name="T5" fmla="*/ 61 h 1146"/>
              <a:gd name="T6" fmla="*/ 0 w 2114"/>
              <a:gd name="T7" fmla="*/ 1146 h 1146"/>
              <a:gd name="T8" fmla="*/ 2114 w 2114"/>
              <a:gd name="T9" fmla="*/ 1146 h 1146"/>
              <a:gd name="T10" fmla="*/ 2114 w 2114"/>
              <a:gd name="T11" fmla="*/ 869 h 11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2114" h="1146">
                <a:moveTo>
                  <a:pt x="2114" y="869"/>
                </a:moveTo>
                <a:cubicBezTo>
                  <a:pt x="1306" y="61"/>
                  <a:pt x="1306" y="61"/>
                  <a:pt x="1306" y="61"/>
                </a:cubicBezTo>
                <a:cubicBezTo>
                  <a:pt x="1245" y="0"/>
                  <a:pt x="1146" y="0"/>
                  <a:pt x="1085" y="61"/>
                </a:cubicBezTo>
                <a:cubicBezTo>
                  <a:pt x="0" y="1146"/>
                  <a:pt x="0" y="1146"/>
                  <a:pt x="0" y="1146"/>
                </a:cubicBezTo>
                <a:cubicBezTo>
                  <a:pt x="2114" y="1146"/>
                  <a:pt x="2114" y="1146"/>
                  <a:pt x="2114" y="1146"/>
                </a:cubicBezTo>
                <a:lnTo>
                  <a:pt x="2114" y="869"/>
                </a:lnTo>
                <a:close/>
              </a:path>
            </a:pathLst>
          </a:custGeom>
          <a:solidFill>
            <a:srgbClr val="140B4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" name="Freeform: Shape 8">
            <a:extLst>
              <a:ext uri="{FF2B5EF4-FFF2-40B4-BE49-F238E27FC236}">
                <a16:creationId xmlns:a16="http://schemas.microsoft.com/office/drawing/2014/main" id="{0A85C50D-2AD0-37F1-6186-64FDA03CDB34}"/>
              </a:ext>
            </a:extLst>
          </p:cNvPr>
          <p:cNvSpPr/>
          <p:nvPr userDrawn="1"/>
        </p:nvSpPr>
        <p:spPr>
          <a:xfrm rot="2700000">
            <a:off x="7798710" y="-28189"/>
            <a:ext cx="6936059" cy="4323614"/>
          </a:xfrm>
          <a:custGeom>
            <a:avLst/>
            <a:gdLst>
              <a:gd name="connsiteX0" fmla="*/ 0 w 6936059"/>
              <a:gd name="connsiteY0" fmla="*/ 2612445 h 4323614"/>
              <a:gd name="connsiteX1" fmla="*/ 2612445 w 6936059"/>
              <a:gd name="connsiteY1" fmla="*/ 0 h 4323614"/>
              <a:gd name="connsiteX2" fmla="*/ 6936059 w 6936059"/>
              <a:gd name="connsiteY2" fmla="*/ 4323614 h 4323614"/>
              <a:gd name="connsiteX3" fmla="*/ 492439 w 6936059"/>
              <a:gd name="connsiteY3" fmla="*/ 4323614 h 4323614"/>
              <a:gd name="connsiteX4" fmla="*/ 0 w 6936059"/>
              <a:gd name="connsiteY4" fmla="*/ 3831175 h 43236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936059" h="4323614">
                <a:moveTo>
                  <a:pt x="0" y="2612445"/>
                </a:moveTo>
                <a:lnTo>
                  <a:pt x="2612445" y="0"/>
                </a:lnTo>
                <a:lnTo>
                  <a:pt x="6936059" y="4323614"/>
                </a:lnTo>
                <a:lnTo>
                  <a:pt x="492439" y="4323614"/>
                </a:lnTo>
                <a:cubicBezTo>
                  <a:pt x="220472" y="4323614"/>
                  <a:pt x="1" y="4103142"/>
                  <a:pt x="0" y="3831175"/>
                </a:cubicBezTo>
                <a:close/>
              </a:path>
            </a:pathLst>
          </a:custGeom>
          <a:solidFill>
            <a:srgbClr val="00CCFF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 err="1">
              <a:solidFill>
                <a:schemeClr val="tx1"/>
              </a:solidFill>
            </a:endParaRPr>
          </a:p>
        </p:txBody>
      </p:sp>
      <p:sp>
        <p:nvSpPr>
          <p:cNvPr id="10" name="Freeform 7">
            <a:extLst>
              <a:ext uri="{FF2B5EF4-FFF2-40B4-BE49-F238E27FC236}">
                <a16:creationId xmlns:a16="http://schemas.microsoft.com/office/drawing/2014/main" id="{FF7F7C58-163F-1881-E4D5-96FE1EF56D83}"/>
              </a:ext>
            </a:extLst>
          </p:cNvPr>
          <p:cNvSpPr>
            <a:spLocks/>
          </p:cNvSpPr>
          <p:nvPr userDrawn="1"/>
        </p:nvSpPr>
        <p:spPr bwMode="auto">
          <a:xfrm>
            <a:off x="6511925" y="737524"/>
            <a:ext cx="5368925" cy="5368925"/>
          </a:xfrm>
          <a:custGeom>
            <a:avLst/>
            <a:gdLst>
              <a:gd name="T0" fmla="*/ 724 w 1691"/>
              <a:gd name="T1" fmla="*/ 1624 h 1691"/>
              <a:gd name="T2" fmla="*/ 67 w 1691"/>
              <a:gd name="T3" fmla="*/ 967 h 1691"/>
              <a:gd name="T4" fmla="*/ 67 w 1691"/>
              <a:gd name="T5" fmla="*/ 724 h 1691"/>
              <a:gd name="T6" fmla="*/ 724 w 1691"/>
              <a:gd name="T7" fmla="*/ 67 h 1691"/>
              <a:gd name="T8" fmla="*/ 967 w 1691"/>
              <a:gd name="T9" fmla="*/ 67 h 1691"/>
              <a:gd name="T10" fmla="*/ 1624 w 1691"/>
              <a:gd name="T11" fmla="*/ 724 h 1691"/>
              <a:gd name="T12" fmla="*/ 1624 w 1691"/>
              <a:gd name="T13" fmla="*/ 967 h 1691"/>
              <a:gd name="T14" fmla="*/ 967 w 1691"/>
              <a:gd name="T15" fmla="*/ 1624 h 1691"/>
              <a:gd name="T16" fmla="*/ 724 w 1691"/>
              <a:gd name="T17" fmla="*/ 1624 h 169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1691" h="1691">
                <a:moveTo>
                  <a:pt x="724" y="1624"/>
                </a:moveTo>
                <a:cubicBezTo>
                  <a:pt x="67" y="967"/>
                  <a:pt x="67" y="967"/>
                  <a:pt x="67" y="967"/>
                </a:cubicBezTo>
                <a:cubicBezTo>
                  <a:pt x="0" y="900"/>
                  <a:pt x="0" y="791"/>
                  <a:pt x="67" y="724"/>
                </a:cubicBezTo>
                <a:cubicBezTo>
                  <a:pt x="724" y="67"/>
                  <a:pt x="724" y="67"/>
                  <a:pt x="724" y="67"/>
                </a:cubicBezTo>
                <a:cubicBezTo>
                  <a:pt x="791" y="0"/>
                  <a:pt x="900" y="0"/>
                  <a:pt x="967" y="67"/>
                </a:cubicBezTo>
                <a:cubicBezTo>
                  <a:pt x="1624" y="724"/>
                  <a:pt x="1624" y="724"/>
                  <a:pt x="1624" y="724"/>
                </a:cubicBezTo>
                <a:cubicBezTo>
                  <a:pt x="1691" y="791"/>
                  <a:pt x="1691" y="900"/>
                  <a:pt x="1624" y="967"/>
                </a:cubicBezTo>
                <a:cubicBezTo>
                  <a:pt x="967" y="1624"/>
                  <a:pt x="967" y="1624"/>
                  <a:pt x="967" y="1624"/>
                </a:cubicBezTo>
                <a:cubicBezTo>
                  <a:pt x="900" y="1691"/>
                  <a:pt x="791" y="1691"/>
                  <a:pt x="724" y="1624"/>
                </a:cubicBezTo>
                <a:close/>
              </a:path>
            </a:pathLst>
          </a:custGeom>
          <a:solidFill>
            <a:srgbClr val="005587"/>
          </a:solidFill>
          <a:ln w="12700">
            <a:solidFill>
              <a:schemeClr val="bg1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" name="Freeform: Shape 4">
            <a:extLst>
              <a:ext uri="{FF2B5EF4-FFF2-40B4-BE49-F238E27FC236}">
                <a16:creationId xmlns:a16="http://schemas.microsoft.com/office/drawing/2014/main" id="{EB7ADD5B-1EFD-EE84-83C7-4F7CA369A2B9}"/>
              </a:ext>
            </a:extLst>
          </p:cNvPr>
          <p:cNvSpPr/>
          <p:nvPr userDrawn="1"/>
        </p:nvSpPr>
        <p:spPr>
          <a:xfrm rot="2700000">
            <a:off x="9656180" y="878325"/>
            <a:ext cx="4632172" cy="5087323"/>
          </a:xfrm>
          <a:custGeom>
            <a:avLst/>
            <a:gdLst>
              <a:gd name="connsiteX0" fmla="*/ 0 w 4724357"/>
              <a:gd name="connsiteY0" fmla="*/ 0 h 4945592"/>
              <a:gd name="connsiteX1" fmla="*/ 4724357 w 4724357"/>
              <a:gd name="connsiteY1" fmla="*/ 4724357 h 4945592"/>
              <a:gd name="connsiteX2" fmla="*/ 4503122 w 4724357"/>
              <a:gd name="connsiteY2" fmla="*/ 4945592 h 4945592"/>
              <a:gd name="connsiteX3" fmla="*/ 607510 w 4724357"/>
              <a:gd name="connsiteY3" fmla="*/ 4945592 h 4945592"/>
              <a:gd name="connsiteX4" fmla="*/ 0 w 4724357"/>
              <a:gd name="connsiteY4" fmla="*/ 4338082 h 4945592"/>
              <a:gd name="connsiteX0" fmla="*/ 4724357 w 4815797"/>
              <a:gd name="connsiteY0" fmla="*/ 4724357 h 4945592"/>
              <a:gd name="connsiteX1" fmla="*/ 4503122 w 4815797"/>
              <a:gd name="connsiteY1" fmla="*/ 4945592 h 4945592"/>
              <a:gd name="connsiteX2" fmla="*/ 607510 w 4815797"/>
              <a:gd name="connsiteY2" fmla="*/ 4945592 h 4945592"/>
              <a:gd name="connsiteX3" fmla="*/ 0 w 4815797"/>
              <a:gd name="connsiteY3" fmla="*/ 4338082 h 4945592"/>
              <a:gd name="connsiteX4" fmla="*/ 0 w 4815797"/>
              <a:gd name="connsiteY4" fmla="*/ 0 h 4945592"/>
              <a:gd name="connsiteX5" fmla="*/ 4815797 w 4815797"/>
              <a:gd name="connsiteY5" fmla="*/ 4815797 h 4945592"/>
              <a:gd name="connsiteX0" fmla="*/ 4724357 w 4724357"/>
              <a:gd name="connsiteY0" fmla="*/ 4724357 h 4945592"/>
              <a:gd name="connsiteX1" fmla="*/ 4503122 w 4724357"/>
              <a:gd name="connsiteY1" fmla="*/ 4945592 h 4945592"/>
              <a:gd name="connsiteX2" fmla="*/ 607510 w 4724357"/>
              <a:gd name="connsiteY2" fmla="*/ 4945592 h 4945592"/>
              <a:gd name="connsiteX3" fmla="*/ 0 w 4724357"/>
              <a:gd name="connsiteY3" fmla="*/ 4338082 h 4945592"/>
              <a:gd name="connsiteX4" fmla="*/ 0 w 4724357"/>
              <a:gd name="connsiteY4" fmla="*/ 0 h 4945592"/>
              <a:gd name="connsiteX0" fmla="*/ 4503122 w 4503122"/>
              <a:gd name="connsiteY0" fmla="*/ 4945592 h 4945592"/>
              <a:gd name="connsiteX1" fmla="*/ 607510 w 4503122"/>
              <a:gd name="connsiteY1" fmla="*/ 4945592 h 4945592"/>
              <a:gd name="connsiteX2" fmla="*/ 0 w 4503122"/>
              <a:gd name="connsiteY2" fmla="*/ 4338082 h 4945592"/>
              <a:gd name="connsiteX3" fmla="*/ 0 w 4503122"/>
              <a:gd name="connsiteY3" fmla="*/ 0 h 49455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503122" h="4945592">
                <a:moveTo>
                  <a:pt x="4503122" y="4945592"/>
                </a:moveTo>
                <a:lnTo>
                  <a:pt x="607510" y="4945592"/>
                </a:lnTo>
                <a:cubicBezTo>
                  <a:pt x="271991" y="4945592"/>
                  <a:pt x="0" y="4673601"/>
                  <a:pt x="0" y="4338082"/>
                </a:cubicBezTo>
                <a:lnTo>
                  <a:pt x="0" y="0"/>
                </a:lnTo>
              </a:path>
            </a:pathLst>
          </a:custGeom>
          <a:noFill/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algn="l"/>
            <a:endParaRPr lang="en-US" sz="1600" err="1"/>
          </a:p>
        </p:txBody>
      </p:sp>
    </p:spTree>
    <p:extLst>
      <p:ext uri="{BB962C8B-B14F-4D97-AF65-F5344CB8AC3E}">
        <p14:creationId xmlns:p14="http://schemas.microsoft.com/office/powerpoint/2010/main" val="103610861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2024-06 - IQVI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8F39C5FB-65B4-C908-855D-2728400F9ED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20000">
                <a:srgbClr val="005587"/>
              </a:gs>
              <a:gs pos="80000">
                <a:srgbClr val="00A3E0"/>
              </a:gs>
            </a:gsLst>
            <a:lin ang="2700000" scaled="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t" anchorCtr="0"/>
          <a:lstStyle/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600" b="0" i="0" u="none" strike="noStrike" kern="0" cap="none" spc="0" normalizeH="0" baseline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</a:endParaRPr>
          </a:p>
        </p:txBody>
      </p:sp>
      <p:sp>
        <p:nvSpPr>
          <p:cNvPr id="4" name="Text Placeholder 21">
            <a:extLst>
              <a:ext uri="{FF2B5EF4-FFF2-40B4-BE49-F238E27FC236}">
                <a16:creationId xmlns:a16="http://schemas.microsoft.com/office/drawing/2014/main" id="{25B56EBA-448E-C7D0-100C-AD7974D3F94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13608" y="3681765"/>
            <a:ext cx="7029069" cy="119580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400" b="0" i="1">
                <a:solidFill>
                  <a:srgbClr val="BFE8F7"/>
                </a:solidFill>
              </a:defRPr>
            </a:lvl1pPr>
          </a:lstStyle>
          <a:p>
            <a:pPr lvl="0"/>
            <a:r>
              <a:rPr lang="en-US"/>
              <a:t>Subheads are 24pt Arial Italic sentence case and can be 2 lines.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F4952327-FD57-A506-881F-6BEC092B82EC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13608" y="1517515"/>
            <a:ext cx="7029069" cy="1996373"/>
          </a:xfrm>
          <a:prstGeom prst="rect">
            <a:avLst/>
          </a:prstGeom>
        </p:spPr>
        <p:txBody>
          <a:bodyPr vert="horz" anchor="b" anchorCtr="0"/>
          <a:lstStyle>
            <a:lvl1pPr algn="l">
              <a:lnSpc>
                <a:spcPct val="100000"/>
              </a:lnSpc>
              <a:defRPr sz="3600" b="1" i="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Headline 36pt Arial Bold Title Case Should Be No More Than 2 Lines</a:t>
            </a:r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id="{F5258D62-E26A-940F-71AE-1DB66927743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13608" y="5518464"/>
            <a:ext cx="4068848" cy="669272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200"/>
              </a:spcBef>
              <a:buNone/>
              <a:defRPr sz="160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Author First Last Name, Title 16pt Arial</a:t>
            </a: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56E6678B-F1D2-BAA4-8C13-157EDC25793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43330" y="735457"/>
            <a:ext cx="2247900" cy="406400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CDB5FAB4-46B6-F50F-3686-3A652C917D56}"/>
              </a:ext>
            </a:extLst>
          </p:cNvPr>
          <p:cNvSpPr txBox="1"/>
          <p:nvPr userDrawn="1"/>
        </p:nvSpPr>
        <p:spPr bwMode="black">
          <a:xfrm>
            <a:off x="613608" y="6367152"/>
            <a:ext cx="4495800" cy="338554"/>
          </a:xfrm>
          <a:prstGeom prst="rect">
            <a:avLst/>
          </a:prstGeom>
          <a:ln>
            <a:noFill/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rgbClr val="7FD1EF"/>
                </a:solidFill>
                <a:ea typeface="Arial" charset="0"/>
                <a:cs typeface="Arial" charset="0"/>
              </a:rPr>
              <a:t>© 2025. All rights reserved. IQVIA</a:t>
            </a:r>
            <a:r>
              <a:rPr lang="en-US" sz="800" baseline="30000">
                <a:solidFill>
                  <a:srgbClr val="7FD1EF"/>
                </a:solidFill>
                <a:ea typeface="Arial" charset="0"/>
                <a:cs typeface="Arial" charset="0"/>
              </a:rPr>
              <a:t>®</a:t>
            </a:r>
            <a:r>
              <a:rPr lang="en-US" sz="800">
                <a:solidFill>
                  <a:srgbClr val="7FD1EF"/>
                </a:solidFill>
                <a:ea typeface="Arial" charset="0"/>
                <a:cs typeface="Arial" charset="0"/>
              </a:rPr>
              <a:t> is a registered trademark of IQVIA Inc. in the United States, the European Union, and various other countries. </a:t>
            </a:r>
          </a:p>
        </p:txBody>
      </p:sp>
      <p:sp>
        <p:nvSpPr>
          <p:cNvPr id="24" name="Freeform: Shape 23">
            <a:extLst>
              <a:ext uri="{FF2B5EF4-FFF2-40B4-BE49-F238E27FC236}">
                <a16:creationId xmlns:a16="http://schemas.microsoft.com/office/drawing/2014/main" id="{DE6A72EF-4ACE-0FB5-78CD-8CB5D25D38CD}"/>
              </a:ext>
            </a:extLst>
          </p:cNvPr>
          <p:cNvSpPr/>
          <p:nvPr userDrawn="1"/>
        </p:nvSpPr>
        <p:spPr>
          <a:xfrm rot="900000">
            <a:off x="8679642" y="590047"/>
            <a:ext cx="1209408" cy="6535813"/>
          </a:xfrm>
          <a:custGeom>
            <a:avLst/>
            <a:gdLst>
              <a:gd name="connsiteX0" fmla="*/ 482835 w 1209408"/>
              <a:gd name="connsiteY0" fmla="*/ 12286 h 6535813"/>
              <a:gd name="connsiteX1" fmla="*/ 604704 w 1209408"/>
              <a:gd name="connsiteY1" fmla="*/ 0 h 6535813"/>
              <a:gd name="connsiteX2" fmla="*/ 1209408 w 1209408"/>
              <a:gd name="connsiteY2" fmla="*/ 604704 h 6535813"/>
              <a:gd name="connsiteX3" fmla="*/ 1209408 w 1209408"/>
              <a:gd name="connsiteY3" fmla="*/ 6211754 h 6535813"/>
              <a:gd name="connsiteX4" fmla="*/ 0 w 1209408"/>
              <a:gd name="connsiteY4" fmla="*/ 6535813 h 6535813"/>
              <a:gd name="connsiteX5" fmla="*/ 0 w 1209408"/>
              <a:gd name="connsiteY5" fmla="*/ 604704 h 6535813"/>
              <a:gd name="connsiteX6" fmla="*/ 482835 w 1209408"/>
              <a:gd name="connsiteY6" fmla="*/ 12286 h 65358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09408" h="6535813">
                <a:moveTo>
                  <a:pt x="482835" y="12286"/>
                </a:moveTo>
                <a:cubicBezTo>
                  <a:pt x="522200" y="4230"/>
                  <a:pt x="562958" y="0"/>
                  <a:pt x="604704" y="0"/>
                </a:cubicBezTo>
                <a:cubicBezTo>
                  <a:pt x="938673" y="0"/>
                  <a:pt x="1209408" y="270735"/>
                  <a:pt x="1209408" y="604704"/>
                </a:cubicBezTo>
                <a:lnTo>
                  <a:pt x="1209408" y="6211754"/>
                </a:lnTo>
                <a:lnTo>
                  <a:pt x="0" y="6535813"/>
                </a:lnTo>
                <a:lnTo>
                  <a:pt x="0" y="604704"/>
                </a:lnTo>
                <a:cubicBezTo>
                  <a:pt x="0" y="312481"/>
                  <a:pt x="207282" y="68672"/>
                  <a:pt x="482835" y="12286"/>
                </a:cubicBezTo>
                <a:close/>
              </a:path>
            </a:pathLst>
          </a:custGeom>
          <a:solidFill>
            <a:srgbClr val="00CC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lvl="0"/>
            <a:endParaRPr lang="en-US" sz="1600" err="1"/>
          </a:p>
        </p:txBody>
      </p:sp>
      <p:sp>
        <p:nvSpPr>
          <p:cNvPr id="25" name="Freeform: Shape 24">
            <a:extLst>
              <a:ext uri="{FF2B5EF4-FFF2-40B4-BE49-F238E27FC236}">
                <a16:creationId xmlns:a16="http://schemas.microsoft.com/office/drawing/2014/main" id="{EA260F01-821A-E0DB-A6B1-B66100FC4906}"/>
              </a:ext>
            </a:extLst>
          </p:cNvPr>
          <p:cNvSpPr/>
          <p:nvPr userDrawn="1"/>
        </p:nvSpPr>
        <p:spPr>
          <a:xfrm rot="900000">
            <a:off x="10876535" y="3369355"/>
            <a:ext cx="737236" cy="3646170"/>
          </a:xfrm>
          <a:custGeom>
            <a:avLst/>
            <a:gdLst>
              <a:gd name="connsiteX0" fmla="*/ 294329 w 737236"/>
              <a:gd name="connsiteY0" fmla="*/ 7489 h 3646170"/>
              <a:gd name="connsiteX1" fmla="*/ 368618 w 737236"/>
              <a:gd name="connsiteY1" fmla="*/ 0 h 3646170"/>
              <a:gd name="connsiteX2" fmla="*/ 737236 w 737236"/>
              <a:gd name="connsiteY2" fmla="*/ 368618 h 3646170"/>
              <a:gd name="connsiteX3" fmla="*/ 737235 w 737236"/>
              <a:gd name="connsiteY3" fmla="*/ 3448629 h 3646170"/>
              <a:gd name="connsiteX4" fmla="*/ 0 w 737236"/>
              <a:gd name="connsiteY4" fmla="*/ 3646170 h 3646170"/>
              <a:gd name="connsiteX5" fmla="*/ 0 w 737236"/>
              <a:gd name="connsiteY5" fmla="*/ 368618 h 3646170"/>
              <a:gd name="connsiteX6" fmla="*/ 294329 w 737236"/>
              <a:gd name="connsiteY6" fmla="*/ 7489 h 36461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37236" h="3646170">
                <a:moveTo>
                  <a:pt x="294329" y="7489"/>
                </a:moveTo>
                <a:cubicBezTo>
                  <a:pt x="318325" y="2579"/>
                  <a:pt x="343170" y="0"/>
                  <a:pt x="368618" y="0"/>
                </a:cubicBezTo>
                <a:cubicBezTo>
                  <a:pt x="572200" y="0"/>
                  <a:pt x="737236" y="165036"/>
                  <a:pt x="737236" y="368618"/>
                </a:cubicBezTo>
                <a:lnTo>
                  <a:pt x="737235" y="3448629"/>
                </a:lnTo>
                <a:lnTo>
                  <a:pt x="0" y="3646170"/>
                </a:lnTo>
                <a:lnTo>
                  <a:pt x="0" y="368618"/>
                </a:lnTo>
                <a:cubicBezTo>
                  <a:pt x="1" y="190484"/>
                  <a:pt x="126356" y="41861"/>
                  <a:pt x="294329" y="7489"/>
                </a:cubicBezTo>
                <a:close/>
              </a:path>
            </a:pathLst>
          </a:custGeom>
          <a:solidFill>
            <a:srgbClr val="140B4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lvl="0"/>
            <a:endParaRPr lang="en-US" sz="1600" err="1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D67CF9C9-26E4-4CCA-2489-EA1403AF749A}"/>
              </a:ext>
            </a:extLst>
          </p:cNvPr>
          <p:cNvCxnSpPr>
            <a:cxnSpLocks/>
          </p:cNvCxnSpPr>
          <p:nvPr userDrawn="1"/>
        </p:nvCxnSpPr>
        <p:spPr>
          <a:xfrm rot="900000" flipH="1">
            <a:off x="9695751" y="-132832"/>
            <a:ext cx="0" cy="711200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C16662C6-F32D-D286-E981-FFF7563738AA}"/>
              </a:ext>
            </a:extLst>
          </p:cNvPr>
          <p:cNvCxnSpPr>
            <a:cxnSpLocks/>
          </p:cNvCxnSpPr>
          <p:nvPr userDrawn="1"/>
        </p:nvCxnSpPr>
        <p:spPr>
          <a:xfrm flipH="1">
            <a:off x="10616112" y="990600"/>
            <a:ext cx="1572166" cy="586740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9458405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Co-Brand 2024-01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reeform: Shape 8">
            <a:extLst>
              <a:ext uri="{FF2B5EF4-FFF2-40B4-BE49-F238E27FC236}">
                <a16:creationId xmlns:a16="http://schemas.microsoft.com/office/drawing/2014/main" id="{7F44744A-7370-45C0-CB74-88A57CF6C18C}"/>
              </a:ext>
            </a:extLst>
          </p:cNvPr>
          <p:cNvSpPr/>
          <p:nvPr userDrawn="1"/>
        </p:nvSpPr>
        <p:spPr>
          <a:xfrm rot="2700000">
            <a:off x="8404848" y="-676776"/>
            <a:ext cx="832104" cy="2612447"/>
          </a:xfrm>
          <a:custGeom>
            <a:avLst/>
            <a:gdLst>
              <a:gd name="connsiteX0" fmla="*/ 0 w 832104"/>
              <a:gd name="connsiteY0" fmla="*/ 832103 h 2612447"/>
              <a:gd name="connsiteX1" fmla="*/ 832104 w 832104"/>
              <a:gd name="connsiteY1" fmla="*/ 0 h 2612447"/>
              <a:gd name="connsiteX2" fmla="*/ 832104 w 832104"/>
              <a:gd name="connsiteY2" fmla="*/ 2196395 h 2612447"/>
              <a:gd name="connsiteX3" fmla="*/ 416052 w 832104"/>
              <a:gd name="connsiteY3" fmla="*/ 2612447 h 2612447"/>
              <a:gd name="connsiteX4" fmla="*/ 0 w 832104"/>
              <a:gd name="connsiteY4" fmla="*/ 2196395 h 26124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32104" h="2612447">
                <a:moveTo>
                  <a:pt x="0" y="832103"/>
                </a:moveTo>
                <a:lnTo>
                  <a:pt x="832104" y="0"/>
                </a:lnTo>
                <a:lnTo>
                  <a:pt x="832104" y="2196395"/>
                </a:lnTo>
                <a:cubicBezTo>
                  <a:pt x="832104" y="2426174"/>
                  <a:pt x="645831" y="2612447"/>
                  <a:pt x="416052" y="2612447"/>
                </a:cubicBezTo>
                <a:cubicBezTo>
                  <a:pt x="186273" y="2612447"/>
                  <a:pt x="0" y="2426174"/>
                  <a:pt x="0" y="2196395"/>
                </a:cubicBezTo>
                <a:close/>
              </a:path>
            </a:pathLst>
          </a:custGeom>
          <a:solidFill>
            <a:srgbClr val="7FD1E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algn="l"/>
            <a:endParaRPr lang="en-US" sz="1600" err="1"/>
          </a:p>
        </p:txBody>
      </p:sp>
      <p:sp>
        <p:nvSpPr>
          <p:cNvPr id="34" name="Text Placeholder 21">
            <a:extLst>
              <a:ext uri="{FF2B5EF4-FFF2-40B4-BE49-F238E27FC236}">
                <a16:creationId xmlns:a16="http://schemas.microsoft.com/office/drawing/2014/main" id="{DF6C4E0C-B7EB-46A6-B6F0-C76FDCFC3F2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13608" y="4175059"/>
            <a:ext cx="6270413" cy="119580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400" b="0" i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Subheads are 24pt Arial Italic sentence case</a:t>
            </a:r>
          </a:p>
        </p:txBody>
      </p:sp>
      <p:sp>
        <p:nvSpPr>
          <p:cNvPr id="35" name="Title 1">
            <a:extLst>
              <a:ext uri="{FF2B5EF4-FFF2-40B4-BE49-F238E27FC236}">
                <a16:creationId xmlns:a16="http://schemas.microsoft.com/office/drawing/2014/main" id="{F7111441-0C14-4EE9-B6C1-ED9FC63641C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13608" y="1918354"/>
            <a:ext cx="6270413" cy="2088828"/>
          </a:xfrm>
          <a:prstGeom prst="rect">
            <a:avLst/>
          </a:prstGeom>
        </p:spPr>
        <p:txBody>
          <a:bodyPr anchor="b" anchorCtr="0"/>
          <a:lstStyle>
            <a:lvl1pPr algn="l">
              <a:lnSpc>
                <a:spcPct val="100000"/>
              </a:lnSpc>
              <a:defRPr sz="3600" b="1" i="0" baseline="0">
                <a:solidFill>
                  <a:schemeClr val="accent2"/>
                </a:solidFill>
              </a:defRPr>
            </a:lvl1pPr>
          </a:lstStyle>
          <a:p>
            <a:r>
              <a:rPr lang="en-US"/>
              <a:t>Headline 36pt Arial Bold Title Case and Can be 3 Lines</a:t>
            </a:r>
          </a:p>
        </p:txBody>
      </p:sp>
      <p:sp>
        <p:nvSpPr>
          <p:cNvPr id="36" name="Subtitle 2">
            <a:extLst>
              <a:ext uri="{FF2B5EF4-FFF2-40B4-BE49-F238E27FC236}">
                <a16:creationId xmlns:a16="http://schemas.microsoft.com/office/drawing/2014/main" id="{413712FA-495E-465D-A2EB-8AA7E6AE552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13608" y="5518464"/>
            <a:ext cx="6270413" cy="669272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200"/>
              </a:spcBef>
              <a:buNone/>
              <a:defRPr sz="1600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Author First Last Name, Title 16pt Arial</a:t>
            </a: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605A4C8A-6879-7FCB-0A76-F16EBB9CEB8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31520" y="812800"/>
            <a:ext cx="2247900" cy="406400"/>
          </a:xfrm>
          <a:prstGeom prst="rect">
            <a:avLst/>
          </a:prstGeom>
        </p:spPr>
      </p:pic>
      <p:sp>
        <p:nvSpPr>
          <p:cNvPr id="26" name="Freeform: Shape 25">
            <a:extLst>
              <a:ext uri="{FF2B5EF4-FFF2-40B4-BE49-F238E27FC236}">
                <a16:creationId xmlns:a16="http://schemas.microsoft.com/office/drawing/2014/main" id="{8EF4E02D-F7F2-65BC-9A85-BBCF1CEAB9A4}"/>
              </a:ext>
            </a:extLst>
          </p:cNvPr>
          <p:cNvSpPr/>
          <p:nvPr userDrawn="1"/>
        </p:nvSpPr>
        <p:spPr>
          <a:xfrm rot="13500000" flipH="1">
            <a:off x="10884124" y="1958347"/>
            <a:ext cx="1426821" cy="2469493"/>
          </a:xfrm>
          <a:custGeom>
            <a:avLst/>
            <a:gdLst>
              <a:gd name="connsiteX0" fmla="*/ 0 w 1867898"/>
              <a:gd name="connsiteY0" fmla="*/ 3232895 h 3232895"/>
              <a:gd name="connsiteX1" fmla="*/ 0 w 1867898"/>
              <a:gd name="connsiteY1" fmla="*/ 933949 h 3232895"/>
              <a:gd name="connsiteX2" fmla="*/ 933949 w 1867898"/>
              <a:gd name="connsiteY2" fmla="*/ 0 h 3232895"/>
              <a:gd name="connsiteX3" fmla="*/ 1867898 w 1867898"/>
              <a:gd name="connsiteY3" fmla="*/ 933949 h 3232895"/>
              <a:gd name="connsiteX4" fmla="*/ 1867898 w 1867898"/>
              <a:gd name="connsiteY4" fmla="*/ 1797199 h 3232895"/>
              <a:gd name="connsiteX5" fmla="*/ 432202 w 1867898"/>
              <a:gd name="connsiteY5" fmla="*/ 3232895 h 32328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867898" h="3232895">
                <a:moveTo>
                  <a:pt x="0" y="3232895"/>
                </a:moveTo>
                <a:lnTo>
                  <a:pt x="0" y="933949"/>
                </a:lnTo>
                <a:cubicBezTo>
                  <a:pt x="0" y="418143"/>
                  <a:pt x="418143" y="0"/>
                  <a:pt x="933949" y="0"/>
                </a:cubicBezTo>
                <a:cubicBezTo>
                  <a:pt x="1449755" y="0"/>
                  <a:pt x="1867898" y="418143"/>
                  <a:pt x="1867898" y="933949"/>
                </a:cubicBezTo>
                <a:lnTo>
                  <a:pt x="1867898" y="1797199"/>
                </a:lnTo>
                <a:lnTo>
                  <a:pt x="432202" y="3232895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algn="l"/>
            <a:endParaRPr lang="en-US" sz="1600" err="1"/>
          </a:p>
        </p:txBody>
      </p:sp>
      <p:sp>
        <p:nvSpPr>
          <p:cNvPr id="27" name="Freeform: Shape 26">
            <a:extLst>
              <a:ext uri="{FF2B5EF4-FFF2-40B4-BE49-F238E27FC236}">
                <a16:creationId xmlns:a16="http://schemas.microsoft.com/office/drawing/2014/main" id="{1C069A87-C164-C434-5CEF-4ACD0B6BF8B1}"/>
              </a:ext>
            </a:extLst>
          </p:cNvPr>
          <p:cNvSpPr/>
          <p:nvPr userDrawn="1"/>
        </p:nvSpPr>
        <p:spPr>
          <a:xfrm rot="13500000" flipH="1">
            <a:off x="10658974" y="1045214"/>
            <a:ext cx="830027" cy="4013802"/>
          </a:xfrm>
          <a:custGeom>
            <a:avLst/>
            <a:gdLst>
              <a:gd name="connsiteX0" fmla="*/ 0 w 1086616"/>
              <a:gd name="connsiteY0" fmla="*/ 5254600 h 5254600"/>
              <a:gd name="connsiteX1" fmla="*/ 0 w 1086616"/>
              <a:gd name="connsiteY1" fmla="*/ 543308 h 5254600"/>
              <a:gd name="connsiteX2" fmla="*/ 543308 w 1086616"/>
              <a:gd name="connsiteY2" fmla="*/ 0 h 5254600"/>
              <a:gd name="connsiteX3" fmla="*/ 1086616 w 1086616"/>
              <a:gd name="connsiteY3" fmla="*/ 543308 h 5254600"/>
              <a:gd name="connsiteX4" fmla="*/ 1086615 w 1086616"/>
              <a:gd name="connsiteY4" fmla="*/ 4167985 h 5254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86616" h="5254600">
                <a:moveTo>
                  <a:pt x="0" y="5254600"/>
                </a:moveTo>
                <a:lnTo>
                  <a:pt x="0" y="543308"/>
                </a:lnTo>
                <a:cubicBezTo>
                  <a:pt x="0" y="243247"/>
                  <a:pt x="243247" y="0"/>
                  <a:pt x="543308" y="0"/>
                </a:cubicBezTo>
                <a:cubicBezTo>
                  <a:pt x="843369" y="0"/>
                  <a:pt x="1086616" y="243247"/>
                  <a:pt x="1086616" y="543308"/>
                </a:cubicBezTo>
                <a:lnTo>
                  <a:pt x="1086615" y="4167985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algn="l"/>
            <a:endParaRPr lang="en-US" sz="1600" err="1"/>
          </a:p>
        </p:txBody>
      </p:sp>
      <p:sp>
        <p:nvSpPr>
          <p:cNvPr id="28" name="Freeform: Shape 27">
            <a:extLst>
              <a:ext uri="{FF2B5EF4-FFF2-40B4-BE49-F238E27FC236}">
                <a16:creationId xmlns:a16="http://schemas.microsoft.com/office/drawing/2014/main" id="{98AFE06D-6874-9BC8-8B4C-CD00FFBB1819}"/>
              </a:ext>
            </a:extLst>
          </p:cNvPr>
          <p:cNvSpPr/>
          <p:nvPr userDrawn="1"/>
        </p:nvSpPr>
        <p:spPr>
          <a:xfrm rot="13500000" flipH="1">
            <a:off x="8610866" y="-919718"/>
            <a:ext cx="3320094" cy="4877247"/>
          </a:xfrm>
          <a:custGeom>
            <a:avLst/>
            <a:gdLst>
              <a:gd name="connsiteX0" fmla="*/ 2551539 w 4346444"/>
              <a:gd name="connsiteY0" fmla="*/ 6384965 h 6384965"/>
              <a:gd name="connsiteX1" fmla="*/ 0 w 4346444"/>
              <a:gd name="connsiteY1" fmla="*/ 3833426 h 6384965"/>
              <a:gd name="connsiteX2" fmla="*/ 0 w 4346444"/>
              <a:gd name="connsiteY2" fmla="*/ 2173222 h 6384965"/>
              <a:gd name="connsiteX3" fmla="*/ 2173222 w 4346444"/>
              <a:gd name="connsiteY3" fmla="*/ 0 h 6384965"/>
              <a:gd name="connsiteX4" fmla="*/ 4346444 w 4346444"/>
              <a:gd name="connsiteY4" fmla="*/ 2173222 h 6384965"/>
              <a:gd name="connsiteX5" fmla="*/ 4346444 w 4346444"/>
              <a:gd name="connsiteY5" fmla="*/ 4590060 h 63849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346444" h="6384965">
                <a:moveTo>
                  <a:pt x="2551539" y="6384965"/>
                </a:moveTo>
                <a:lnTo>
                  <a:pt x="0" y="3833426"/>
                </a:lnTo>
                <a:lnTo>
                  <a:pt x="0" y="2173222"/>
                </a:lnTo>
                <a:cubicBezTo>
                  <a:pt x="0" y="972985"/>
                  <a:pt x="972985" y="0"/>
                  <a:pt x="2173222" y="0"/>
                </a:cubicBezTo>
                <a:cubicBezTo>
                  <a:pt x="3373459" y="0"/>
                  <a:pt x="4346444" y="972985"/>
                  <a:pt x="4346444" y="2173222"/>
                </a:cubicBezTo>
                <a:lnTo>
                  <a:pt x="4346444" y="459006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algn="l"/>
            <a:endParaRPr lang="en-US" sz="1600" err="1"/>
          </a:p>
        </p:txBody>
      </p:sp>
      <p:sp>
        <p:nvSpPr>
          <p:cNvPr id="29" name="Freeform: Shape 28">
            <a:extLst>
              <a:ext uri="{FF2B5EF4-FFF2-40B4-BE49-F238E27FC236}">
                <a16:creationId xmlns:a16="http://schemas.microsoft.com/office/drawing/2014/main" id="{09405D1E-7C07-65A2-75A2-7E9EF6B6049B}"/>
              </a:ext>
            </a:extLst>
          </p:cNvPr>
          <p:cNvSpPr/>
          <p:nvPr userDrawn="1"/>
        </p:nvSpPr>
        <p:spPr>
          <a:xfrm rot="13500000" flipH="1">
            <a:off x="11146606" y="1933863"/>
            <a:ext cx="527807" cy="2759754"/>
          </a:xfrm>
          <a:custGeom>
            <a:avLst/>
            <a:gdLst>
              <a:gd name="connsiteX0" fmla="*/ 0 w 690970"/>
              <a:gd name="connsiteY0" fmla="*/ 3612885 h 3612885"/>
              <a:gd name="connsiteX1" fmla="*/ 0 w 690970"/>
              <a:gd name="connsiteY1" fmla="*/ 345485 h 3612885"/>
              <a:gd name="connsiteX2" fmla="*/ 345485 w 690970"/>
              <a:gd name="connsiteY2" fmla="*/ 0 h 3612885"/>
              <a:gd name="connsiteX3" fmla="*/ 690970 w 690970"/>
              <a:gd name="connsiteY3" fmla="*/ 345485 h 3612885"/>
              <a:gd name="connsiteX4" fmla="*/ 690970 w 690970"/>
              <a:gd name="connsiteY4" fmla="*/ 2921915 h 3612885"/>
              <a:gd name="connsiteX0" fmla="*/ 0 w 690970"/>
              <a:gd name="connsiteY0" fmla="*/ 3612885 h 3612885"/>
              <a:gd name="connsiteX1" fmla="*/ 0 w 690970"/>
              <a:gd name="connsiteY1" fmla="*/ 345485 h 3612885"/>
              <a:gd name="connsiteX2" fmla="*/ 345485 w 690970"/>
              <a:gd name="connsiteY2" fmla="*/ 0 h 3612885"/>
              <a:gd name="connsiteX3" fmla="*/ 690970 w 690970"/>
              <a:gd name="connsiteY3" fmla="*/ 345485 h 3612885"/>
              <a:gd name="connsiteX4" fmla="*/ 690970 w 690970"/>
              <a:gd name="connsiteY4" fmla="*/ 2921915 h 3612885"/>
              <a:gd name="connsiteX5" fmla="*/ 572714 w 690970"/>
              <a:gd name="connsiteY5" fmla="*/ 3040171 h 3612885"/>
              <a:gd name="connsiteX6" fmla="*/ 0 w 690970"/>
              <a:gd name="connsiteY6" fmla="*/ 3612885 h 3612885"/>
              <a:gd name="connsiteX0" fmla="*/ 0 w 690970"/>
              <a:gd name="connsiteY0" fmla="*/ 3612885 h 3612885"/>
              <a:gd name="connsiteX1" fmla="*/ 0 w 690970"/>
              <a:gd name="connsiteY1" fmla="*/ 345485 h 3612885"/>
              <a:gd name="connsiteX2" fmla="*/ 345485 w 690970"/>
              <a:gd name="connsiteY2" fmla="*/ 0 h 3612885"/>
              <a:gd name="connsiteX3" fmla="*/ 690970 w 690970"/>
              <a:gd name="connsiteY3" fmla="*/ 345485 h 3612885"/>
              <a:gd name="connsiteX4" fmla="*/ 690970 w 690970"/>
              <a:gd name="connsiteY4" fmla="*/ 2921915 h 3612885"/>
              <a:gd name="connsiteX5" fmla="*/ 572714 w 690970"/>
              <a:gd name="connsiteY5" fmla="*/ 3040171 h 3612885"/>
              <a:gd name="connsiteX6" fmla="*/ 123701 w 690970"/>
              <a:gd name="connsiteY6" fmla="*/ 3489184 h 3612885"/>
              <a:gd name="connsiteX7" fmla="*/ 0 w 690970"/>
              <a:gd name="connsiteY7" fmla="*/ 3612885 h 3612885"/>
              <a:gd name="connsiteX0" fmla="*/ 123701 w 690970"/>
              <a:gd name="connsiteY0" fmla="*/ 3489184 h 3612885"/>
              <a:gd name="connsiteX1" fmla="*/ 0 w 690970"/>
              <a:gd name="connsiteY1" fmla="*/ 3612885 h 3612885"/>
              <a:gd name="connsiteX2" fmla="*/ 0 w 690970"/>
              <a:gd name="connsiteY2" fmla="*/ 345485 h 3612885"/>
              <a:gd name="connsiteX3" fmla="*/ 345485 w 690970"/>
              <a:gd name="connsiteY3" fmla="*/ 0 h 3612885"/>
              <a:gd name="connsiteX4" fmla="*/ 690970 w 690970"/>
              <a:gd name="connsiteY4" fmla="*/ 345485 h 3612885"/>
              <a:gd name="connsiteX5" fmla="*/ 690970 w 690970"/>
              <a:gd name="connsiteY5" fmla="*/ 2921915 h 3612885"/>
              <a:gd name="connsiteX6" fmla="*/ 572714 w 690970"/>
              <a:gd name="connsiteY6" fmla="*/ 3040171 h 3612885"/>
              <a:gd name="connsiteX7" fmla="*/ 215141 w 690970"/>
              <a:gd name="connsiteY7" fmla="*/ 3580624 h 3612885"/>
              <a:gd name="connsiteX0" fmla="*/ 0 w 690970"/>
              <a:gd name="connsiteY0" fmla="*/ 3612885 h 3612885"/>
              <a:gd name="connsiteX1" fmla="*/ 0 w 690970"/>
              <a:gd name="connsiteY1" fmla="*/ 345485 h 3612885"/>
              <a:gd name="connsiteX2" fmla="*/ 345485 w 690970"/>
              <a:gd name="connsiteY2" fmla="*/ 0 h 3612885"/>
              <a:gd name="connsiteX3" fmla="*/ 690970 w 690970"/>
              <a:gd name="connsiteY3" fmla="*/ 345485 h 3612885"/>
              <a:gd name="connsiteX4" fmla="*/ 690970 w 690970"/>
              <a:gd name="connsiteY4" fmla="*/ 2921915 h 3612885"/>
              <a:gd name="connsiteX5" fmla="*/ 572714 w 690970"/>
              <a:gd name="connsiteY5" fmla="*/ 3040171 h 3612885"/>
              <a:gd name="connsiteX6" fmla="*/ 215141 w 690970"/>
              <a:gd name="connsiteY6" fmla="*/ 3580624 h 3612885"/>
              <a:gd name="connsiteX0" fmla="*/ 0 w 690970"/>
              <a:gd name="connsiteY0" fmla="*/ 3612885 h 3612885"/>
              <a:gd name="connsiteX1" fmla="*/ 0 w 690970"/>
              <a:gd name="connsiteY1" fmla="*/ 345485 h 3612885"/>
              <a:gd name="connsiteX2" fmla="*/ 345485 w 690970"/>
              <a:gd name="connsiteY2" fmla="*/ 0 h 3612885"/>
              <a:gd name="connsiteX3" fmla="*/ 690970 w 690970"/>
              <a:gd name="connsiteY3" fmla="*/ 345485 h 3612885"/>
              <a:gd name="connsiteX4" fmla="*/ 690970 w 690970"/>
              <a:gd name="connsiteY4" fmla="*/ 2921915 h 3612885"/>
              <a:gd name="connsiteX5" fmla="*/ 215141 w 690970"/>
              <a:gd name="connsiteY5" fmla="*/ 3580624 h 3612885"/>
              <a:gd name="connsiteX0" fmla="*/ 0 w 690970"/>
              <a:gd name="connsiteY0" fmla="*/ 3612885 h 3612885"/>
              <a:gd name="connsiteX1" fmla="*/ 0 w 690970"/>
              <a:gd name="connsiteY1" fmla="*/ 345485 h 3612885"/>
              <a:gd name="connsiteX2" fmla="*/ 345485 w 690970"/>
              <a:gd name="connsiteY2" fmla="*/ 0 h 3612885"/>
              <a:gd name="connsiteX3" fmla="*/ 690970 w 690970"/>
              <a:gd name="connsiteY3" fmla="*/ 345485 h 3612885"/>
              <a:gd name="connsiteX4" fmla="*/ 690970 w 690970"/>
              <a:gd name="connsiteY4" fmla="*/ 2921915 h 36128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90970" h="3612885">
                <a:moveTo>
                  <a:pt x="0" y="3612885"/>
                </a:moveTo>
                <a:lnTo>
                  <a:pt x="0" y="345485"/>
                </a:lnTo>
                <a:cubicBezTo>
                  <a:pt x="0" y="154679"/>
                  <a:pt x="154679" y="0"/>
                  <a:pt x="345485" y="0"/>
                </a:cubicBezTo>
                <a:cubicBezTo>
                  <a:pt x="536291" y="0"/>
                  <a:pt x="690970" y="154679"/>
                  <a:pt x="690970" y="345485"/>
                </a:cubicBezTo>
                <a:lnTo>
                  <a:pt x="690970" y="2921915"/>
                </a:lnTo>
              </a:path>
            </a:pathLst>
          </a:custGeom>
          <a:noFill/>
          <a:ln w="12700">
            <a:solidFill>
              <a:srgbClr val="2B3A4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algn="l"/>
            <a:endParaRPr lang="en-US" sz="1600" err="1"/>
          </a:p>
        </p:txBody>
      </p:sp>
      <p:sp>
        <p:nvSpPr>
          <p:cNvPr id="4" name="Text Placeholder 21">
            <a:extLst>
              <a:ext uri="{FF2B5EF4-FFF2-40B4-BE49-F238E27FC236}">
                <a16:creationId xmlns:a16="http://schemas.microsoft.com/office/drawing/2014/main" id="{9F0BC72C-1AD7-E7CA-ECEC-E76873446974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9281375" y="4854606"/>
            <a:ext cx="2324100" cy="1341752"/>
          </a:xfrm>
          <a:prstGeom prst="rect">
            <a:avLst/>
          </a:prstGeom>
          <a:solidFill>
            <a:srgbClr val="DA291C"/>
          </a:solidFill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000"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o-brand and bid defense only: You may replace this box with a sponsor logo. Ensure the logo is on a white or transparent background and you have usage permission.</a:t>
            </a:r>
            <a:br>
              <a:rPr lang="en-US"/>
            </a:br>
            <a:br>
              <a:rPr lang="en-US"/>
            </a:br>
            <a:r>
              <a:rPr lang="en-US"/>
              <a:t>All other presentations, or without sponsor logo: Please delete this box.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A795383A-AB7C-A1C6-5711-CA54E3E52A6D}"/>
              </a:ext>
            </a:extLst>
          </p:cNvPr>
          <p:cNvSpPr txBox="1"/>
          <p:nvPr userDrawn="1"/>
        </p:nvSpPr>
        <p:spPr bwMode="black">
          <a:xfrm>
            <a:off x="613608" y="6519948"/>
            <a:ext cx="7722832" cy="215444"/>
          </a:xfrm>
          <a:prstGeom prst="rect">
            <a:avLst/>
          </a:prstGeom>
          <a:ln>
            <a:noFill/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chemeClr val="bg1">
                    <a:lumMod val="50000"/>
                  </a:schemeClr>
                </a:solidFill>
                <a:ea typeface="Arial" charset="0"/>
                <a:cs typeface="Arial" charset="0"/>
              </a:rPr>
              <a:t>© 2025. All rights reserved. IQVIA</a:t>
            </a:r>
            <a:r>
              <a:rPr lang="en-US" sz="800" baseline="30000">
                <a:solidFill>
                  <a:schemeClr val="bg1">
                    <a:lumMod val="50000"/>
                  </a:schemeClr>
                </a:solidFill>
                <a:ea typeface="Arial" charset="0"/>
                <a:cs typeface="Arial" charset="0"/>
              </a:rPr>
              <a:t>®</a:t>
            </a:r>
            <a:r>
              <a:rPr lang="en-US" sz="800">
                <a:solidFill>
                  <a:schemeClr val="bg1">
                    <a:lumMod val="50000"/>
                  </a:schemeClr>
                </a:solidFill>
                <a:ea typeface="Arial" charset="0"/>
                <a:cs typeface="Arial" charset="0"/>
              </a:rPr>
              <a:t> is a registered trademark of IQVIA Inc. in the United States, the European Union, and various other countries. </a:t>
            </a:r>
          </a:p>
        </p:txBody>
      </p:sp>
    </p:spTree>
    <p:extLst>
      <p:ext uri="{BB962C8B-B14F-4D97-AF65-F5344CB8AC3E}">
        <p14:creationId xmlns:p14="http://schemas.microsoft.com/office/powerpoint/2010/main" val="157206129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Co-Brand 2024-02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Text Placeholder 21">
            <a:extLst>
              <a:ext uri="{FF2B5EF4-FFF2-40B4-BE49-F238E27FC236}">
                <a16:creationId xmlns:a16="http://schemas.microsoft.com/office/drawing/2014/main" id="{DF6C4E0C-B7EB-46A6-B6F0-C76FDCFC3F2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13608" y="4175059"/>
            <a:ext cx="6270413" cy="119580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400" b="0" i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Subheads are 24pt Arial Italic sentence case</a:t>
            </a:r>
          </a:p>
        </p:txBody>
      </p:sp>
      <p:sp>
        <p:nvSpPr>
          <p:cNvPr id="35" name="Title 1">
            <a:extLst>
              <a:ext uri="{FF2B5EF4-FFF2-40B4-BE49-F238E27FC236}">
                <a16:creationId xmlns:a16="http://schemas.microsoft.com/office/drawing/2014/main" id="{F7111441-0C14-4EE9-B6C1-ED9FC63641C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13608" y="1918354"/>
            <a:ext cx="6270413" cy="2088828"/>
          </a:xfrm>
          <a:prstGeom prst="rect">
            <a:avLst/>
          </a:prstGeom>
        </p:spPr>
        <p:txBody>
          <a:bodyPr anchor="b" anchorCtr="0"/>
          <a:lstStyle>
            <a:lvl1pPr algn="l">
              <a:lnSpc>
                <a:spcPct val="100000"/>
              </a:lnSpc>
              <a:defRPr sz="3600" b="1" i="0" baseline="0">
                <a:solidFill>
                  <a:schemeClr val="accent2"/>
                </a:solidFill>
              </a:defRPr>
            </a:lvl1pPr>
          </a:lstStyle>
          <a:p>
            <a:r>
              <a:rPr lang="en-US"/>
              <a:t>Headline 36pt Arial Bold Title Case and Can be 3 Lines</a:t>
            </a:r>
          </a:p>
        </p:txBody>
      </p:sp>
      <p:sp>
        <p:nvSpPr>
          <p:cNvPr id="36" name="Subtitle 2">
            <a:extLst>
              <a:ext uri="{FF2B5EF4-FFF2-40B4-BE49-F238E27FC236}">
                <a16:creationId xmlns:a16="http://schemas.microsoft.com/office/drawing/2014/main" id="{413712FA-495E-465D-A2EB-8AA7E6AE552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13608" y="5518464"/>
            <a:ext cx="6270413" cy="669272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200"/>
              </a:spcBef>
              <a:buNone/>
              <a:defRPr sz="1600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Author First Last Name, Title 16pt Arial</a:t>
            </a: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605A4C8A-6879-7FCB-0A76-F16EBB9CEB8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31520" y="812800"/>
            <a:ext cx="2247900" cy="406400"/>
          </a:xfrm>
          <a:prstGeom prst="rect">
            <a:avLst/>
          </a:prstGeom>
        </p:spPr>
      </p:pic>
      <p:sp>
        <p:nvSpPr>
          <p:cNvPr id="4" name="Text Placeholder 21">
            <a:extLst>
              <a:ext uri="{FF2B5EF4-FFF2-40B4-BE49-F238E27FC236}">
                <a16:creationId xmlns:a16="http://schemas.microsoft.com/office/drawing/2014/main" id="{9F0BC72C-1AD7-E7CA-ECEC-E76873446974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9281375" y="4854606"/>
            <a:ext cx="2324100" cy="1341752"/>
          </a:xfrm>
          <a:prstGeom prst="rect">
            <a:avLst/>
          </a:prstGeom>
          <a:solidFill>
            <a:srgbClr val="DA291C"/>
          </a:solidFill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000"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o-brand and bid defense only: You may replace this box with a sponsor logo. Ensure the logo is on a white or transparent background and you have usage permission.</a:t>
            </a:r>
            <a:br>
              <a:rPr lang="en-US"/>
            </a:br>
            <a:br>
              <a:rPr lang="en-US"/>
            </a:br>
            <a:r>
              <a:rPr lang="en-US"/>
              <a:t>All other presentations, or without sponsor logo: Please delete this box.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A795383A-AB7C-A1C6-5711-CA54E3E52A6D}"/>
              </a:ext>
            </a:extLst>
          </p:cNvPr>
          <p:cNvSpPr txBox="1"/>
          <p:nvPr userDrawn="1"/>
        </p:nvSpPr>
        <p:spPr bwMode="black">
          <a:xfrm>
            <a:off x="613608" y="6519948"/>
            <a:ext cx="7722832" cy="215444"/>
          </a:xfrm>
          <a:prstGeom prst="rect">
            <a:avLst/>
          </a:prstGeom>
          <a:ln>
            <a:noFill/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chemeClr val="bg1">
                    <a:lumMod val="50000"/>
                  </a:schemeClr>
                </a:solidFill>
                <a:ea typeface="Arial" charset="0"/>
                <a:cs typeface="Arial" charset="0"/>
              </a:rPr>
              <a:t>© 2025. All rights reserved. IQVIA</a:t>
            </a:r>
            <a:r>
              <a:rPr lang="en-US" sz="800" baseline="30000">
                <a:solidFill>
                  <a:schemeClr val="bg1">
                    <a:lumMod val="50000"/>
                  </a:schemeClr>
                </a:solidFill>
                <a:ea typeface="Arial" charset="0"/>
                <a:cs typeface="Arial" charset="0"/>
              </a:rPr>
              <a:t>®</a:t>
            </a:r>
            <a:r>
              <a:rPr lang="en-US" sz="800">
                <a:solidFill>
                  <a:schemeClr val="bg1">
                    <a:lumMod val="50000"/>
                  </a:schemeClr>
                </a:solidFill>
                <a:ea typeface="Arial" charset="0"/>
                <a:cs typeface="Arial" charset="0"/>
              </a:rPr>
              <a:t> is a registered trademark of IQVIA Inc. in the United States, the European Union, and various other countries. </a:t>
            </a:r>
          </a:p>
        </p:txBody>
      </p:sp>
      <p:sp>
        <p:nvSpPr>
          <p:cNvPr id="18" name="Freeform: Shape 17">
            <a:extLst>
              <a:ext uri="{FF2B5EF4-FFF2-40B4-BE49-F238E27FC236}">
                <a16:creationId xmlns:a16="http://schemas.microsoft.com/office/drawing/2014/main" id="{D7711C25-1E32-D856-3159-AA194B0AE59F}"/>
              </a:ext>
            </a:extLst>
          </p:cNvPr>
          <p:cNvSpPr/>
          <p:nvPr userDrawn="1"/>
        </p:nvSpPr>
        <p:spPr>
          <a:xfrm rot="-2700000">
            <a:off x="7890787" y="-1101899"/>
            <a:ext cx="3375142" cy="3358615"/>
          </a:xfrm>
          <a:custGeom>
            <a:avLst/>
            <a:gdLst>
              <a:gd name="connsiteX0" fmla="*/ 824841 w 3375142"/>
              <a:gd name="connsiteY0" fmla="*/ 0 h 3358615"/>
              <a:gd name="connsiteX1" fmla="*/ 3375142 w 3375142"/>
              <a:gd name="connsiteY1" fmla="*/ 2550301 h 3358615"/>
              <a:gd name="connsiteX2" fmla="*/ 3375142 w 3375142"/>
              <a:gd name="connsiteY2" fmla="*/ 2834570 h 3358615"/>
              <a:gd name="connsiteX3" fmla="*/ 2851097 w 3375142"/>
              <a:gd name="connsiteY3" fmla="*/ 3358615 h 3358615"/>
              <a:gd name="connsiteX4" fmla="*/ 524045 w 3375142"/>
              <a:gd name="connsiteY4" fmla="*/ 3358615 h 3358615"/>
              <a:gd name="connsiteX5" fmla="*/ 0 w 3375142"/>
              <a:gd name="connsiteY5" fmla="*/ 2834570 h 3358615"/>
              <a:gd name="connsiteX6" fmla="*/ 0 w 3375142"/>
              <a:gd name="connsiteY6" fmla="*/ 524045 h 3358615"/>
              <a:gd name="connsiteX7" fmla="*/ 524045 w 3375142"/>
              <a:gd name="connsiteY7" fmla="*/ 0 h 3358615"/>
              <a:gd name="connsiteX0" fmla="*/ 3375142 w 3466582"/>
              <a:gd name="connsiteY0" fmla="*/ 2550301 h 3358615"/>
              <a:gd name="connsiteX1" fmla="*/ 3375142 w 3466582"/>
              <a:gd name="connsiteY1" fmla="*/ 2834570 h 3358615"/>
              <a:gd name="connsiteX2" fmla="*/ 2851097 w 3466582"/>
              <a:gd name="connsiteY2" fmla="*/ 3358615 h 3358615"/>
              <a:gd name="connsiteX3" fmla="*/ 524045 w 3466582"/>
              <a:gd name="connsiteY3" fmla="*/ 3358615 h 3358615"/>
              <a:gd name="connsiteX4" fmla="*/ 0 w 3466582"/>
              <a:gd name="connsiteY4" fmla="*/ 2834570 h 3358615"/>
              <a:gd name="connsiteX5" fmla="*/ 0 w 3466582"/>
              <a:gd name="connsiteY5" fmla="*/ 524045 h 3358615"/>
              <a:gd name="connsiteX6" fmla="*/ 524045 w 3466582"/>
              <a:gd name="connsiteY6" fmla="*/ 0 h 3358615"/>
              <a:gd name="connsiteX7" fmla="*/ 824841 w 3466582"/>
              <a:gd name="connsiteY7" fmla="*/ 0 h 3358615"/>
              <a:gd name="connsiteX8" fmla="*/ 3466582 w 3466582"/>
              <a:gd name="connsiteY8" fmla="*/ 2641741 h 3358615"/>
              <a:gd name="connsiteX0" fmla="*/ 3375142 w 3375142"/>
              <a:gd name="connsiteY0" fmla="*/ 2550301 h 3358615"/>
              <a:gd name="connsiteX1" fmla="*/ 3375142 w 3375142"/>
              <a:gd name="connsiteY1" fmla="*/ 2834570 h 3358615"/>
              <a:gd name="connsiteX2" fmla="*/ 2851097 w 3375142"/>
              <a:gd name="connsiteY2" fmla="*/ 3358615 h 3358615"/>
              <a:gd name="connsiteX3" fmla="*/ 524045 w 3375142"/>
              <a:gd name="connsiteY3" fmla="*/ 3358615 h 3358615"/>
              <a:gd name="connsiteX4" fmla="*/ 0 w 3375142"/>
              <a:gd name="connsiteY4" fmla="*/ 2834570 h 3358615"/>
              <a:gd name="connsiteX5" fmla="*/ 0 w 3375142"/>
              <a:gd name="connsiteY5" fmla="*/ 524045 h 3358615"/>
              <a:gd name="connsiteX6" fmla="*/ 524045 w 3375142"/>
              <a:gd name="connsiteY6" fmla="*/ 0 h 3358615"/>
              <a:gd name="connsiteX7" fmla="*/ 824841 w 3375142"/>
              <a:gd name="connsiteY7" fmla="*/ 0 h 33586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375142" h="3358615">
                <a:moveTo>
                  <a:pt x="3375142" y="2550301"/>
                </a:moveTo>
                <a:lnTo>
                  <a:pt x="3375142" y="2834570"/>
                </a:lnTo>
                <a:cubicBezTo>
                  <a:pt x="3375142" y="3123992"/>
                  <a:pt x="3140519" y="3358615"/>
                  <a:pt x="2851097" y="3358615"/>
                </a:cubicBezTo>
                <a:lnTo>
                  <a:pt x="524045" y="3358615"/>
                </a:lnTo>
                <a:cubicBezTo>
                  <a:pt x="234623" y="3358615"/>
                  <a:pt x="0" y="3123992"/>
                  <a:pt x="0" y="2834570"/>
                </a:cubicBezTo>
                <a:lnTo>
                  <a:pt x="0" y="524045"/>
                </a:lnTo>
                <a:cubicBezTo>
                  <a:pt x="0" y="234623"/>
                  <a:pt x="234623" y="0"/>
                  <a:pt x="524045" y="0"/>
                </a:cubicBezTo>
                <a:lnTo>
                  <a:pt x="824841" y="0"/>
                </a:lnTo>
              </a:path>
            </a:pathLst>
          </a:custGeom>
          <a:noFill/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algn="l"/>
            <a:endParaRPr lang="en-US" sz="1600" err="1"/>
          </a:p>
        </p:txBody>
      </p:sp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7C9A477D-265C-9608-FDB2-0CC08A6EB248}"/>
              </a:ext>
            </a:extLst>
          </p:cNvPr>
          <p:cNvSpPr/>
          <p:nvPr userDrawn="1"/>
        </p:nvSpPr>
        <p:spPr>
          <a:xfrm rot="-2700000">
            <a:off x="8628149" y="-1411464"/>
            <a:ext cx="3721275" cy="4628377"/>
          </a:xfrm>
          <a:custGeom>
            <a:avLst/>
            <a:gdLst>
              <a:gd name="connsiteX0" fmla="*/ 823095 w 3721275"/>
              <a:gd name="connsiteY0" fmla="*/ 0 h 4628377"/>
              <a:gd name="connsiteX1" fmla="*/ 3721275 w 3721275"/>
              <a:gd name="connsiteY1" fmla="*/ 2898181 h 4628377"/>
              <a:gd name="connsiteX2" fmla="*/ 1991079 w 3721275"/>
              <a:gd name="connsiteY2" fmla="*/ 4628377 h 4628377"/>
              <a:gd name="connsiteX3" fmla="*/ 648536 w 3721275"/>
              <a:gd name="connsiteY3" fmla="*/ 4628377 h 4628377"/>
              <a:gd name="connsiteX4" fmla="*/ 0 w 3721275"/>
              <a:gd name="connsiteY4" fmla="*/ 3979841 h 4628377"/>
              <a:gd name="connsiteX5" fmla="*/ 0 w 3721275"/>
              <a:gd name="connsiteY5" fmla="*/ 648536 h 4628377"/>
              <a:gd name="connsiteX6" fmla="*/ 648536 w 3721275"/>
              <a:gd name="connsiteY6" fmla="*/ 0 h 46283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721275" h="4628377">
                <a:moveTo>
                  <a:pt x="823095" y="0"/>
                </a:moveTo>
                <a:lnTo>
                  <a:pt x="3721275" y="2898181"/>
                </a:lnTo>
                <a:lnTo>
                  <a:pt x="1991079" y="4628377"/>
                </a:lnTo>
                <a:lnTo>
                  <a:pt x="648536" y="4628377"/>
                </a:lnTo>
                <a:cubicBezTo>
                  <a:pt x="290359" y="4628377"/>
                  <a:pt x="0" y="4338018"/>
                  <a:pt x="0" y="3979841"/>
                </a:cubicBezTo>
                <a:lnTo>
                  <a:pt x="0" y="648536"/>
                </a:lnTo>
                <a:cubicBezTo>
                  <a:pt x="0" y="290359"/>
                  <a:pt x="290359" y="0"/>
                  <a:pt x="648536" y="0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algn="l"/>
            <a:endParaRPr lang="en-US" sz="1600" err="1"/>
          </a:p>
        </p:txBody>
      </p:sp>
    </p:spTree>
    <p:extLst>
      <p:ext uri="{BB962C8B-B14F-4D97-AF65-F5344CB8AC3E}">
        <p14:creationId xmlns:p14="http://schemas.microsoft.com/office/powerpoint/2010/main" val="232693362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Co-Brand 2024-03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Text Placeholder 21">
            <a:extLst>
              <a:ext uri="{FF2B5EF4-FFF2-40B4-BE49-F238E27FC236}">
                <a16:creationId xmlns:a16="http://schemas.microsoft.com/office/drawing/2014/main" id="{DF6C4E0C-B7EB-46A6-B6F0-C76FDCFC3F2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13608" y="4175059"/>
            <a:ext cx="6270413" cy="119580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400" b="0" i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Subheads are 24pt Arial Italic sentence case</a:t>
            </a:r>
          </a:p>
        </p:txBody>
      </p:sp>
      <p:sp>
        <p:nvSpPr>
          <p:cNvPr id="35" name="Title 1">
            <a:extLst>
              <a:ext uri="{FF2B5EF4-FFF2-40B4-BE49-F238E27FC236}">
                <a16:creationId xmlns:a16="http://schemas.microsoft.com/office/drawing/2014/main" id="{F7111441-0C14-4EE9-B6C1-ED9FC63641C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13608" y="1918354"/>
            <a:ext cx="6270413" cy="2088828"/>
          </a:xfrm>
          <a:prstGeom prst="rect">
            <a:avLst/>
          </a:prstGeom>
        </p:spPr>
        <p:txBody>
          <a:bodyPr anchor="b" anchorCtr="0"/>
          <a:lstStyle>
            <a:lvl1pPr algn="l">
              <a:lnSpc>
                <a:spcPct val="100000"/>
              </a:lnSpc>
              <a:defRPr sz="3600" b="1" i="0" baseline="0">
                <a:solidFill>
                  <a:schemeClr val="accent2"/>
                </a:solidFill>
              </a:defRPr>
            </a:lvl1pPr>
          </a:lstStyle>
          <a:p>
            <a:r>
              <a:rPr lang="en-US"/>
              <a:t>Headline 36pt Arial Bold Title Case and Can be 3 Lines</a:t>
            </a:r>
          </a:p>
        </p:txBody>
      </p:sp>
      <p:sp>
        <p:nvSpPr>
          <p:cNvPr id="36" name="Subtitle 2">
            <a:extLst>
              <a:ext uri="{FF2B5EF4-FFF2-40B4-BE49-F238E27FC236}">
                <a16:creationId xmlns:a16="http://schemas.microsoft.com/office/drawing/2014/main" id="{413712FA-495E-465D-A2EB-8AA7E6AE552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13608" y="5518464"/>
            <a:ext cx="6270413" cy="669272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200"/>
              </a:spcBef>
              <a:buNone/>
              <a:defRPr sz="1600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Author First Last Name, Title 16pt Arial</a:t>
            </a: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605A4C8A-6879-7FCB-0A76-F16EBB9CEB8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31520" y="812800"/>
            <a:ext cx="2247900" cy="406400"/>
          </a:xfrm>
          <a:prstGeom prst="rect">
            <a:avLst/>
          </a:prstGeom>
        </p:spPr>
      </p:pic>
      <p:sp>
        <p:nvSpPr>
          <p:cNvPr id="4" name="Text Placeholder 21">
            <a:extLst>
              <a:ext uri="{FF2B5EF4-FFF2-40B4-BE49-F238E27FC236}">
                <a16:creationId xmlns:a16="http://schemas.microsoft.com/office/drawing/2014/main" id="{9F0BC72C-1AD7-E7CA-ECEC-E76873446974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9281375" y="4854606"/>
            <a:ext cx="2324100" cy="1341752"/>
          </a:xfrm>
          <a:prstGeom prst="rect">
            <a:avLst/>
          </a:prstGeom>
          <a:solidFill>
            <a:srgbClr val="DA291C"/>
          </a:solidFill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000"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o-brand and bid defense only: You may replace this box with a sponsor logo. Ensure the logo is on a white or transparent background and you have usage permission.</a:t>
            </a:r>
            <a:br>
              <a:rPr lang="en-US"/>
            </a:br>
            <a:br>
              <a:rPr lang="en-US"/>
            </a:br>
            <a:r>
              <a:rPr lang="en-US"/>
              <a:t>All other presentations, or without sponsor logo: Please delete this box.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A795383A-AB7C-A1C6-5711-CA54E3E52A6D}"/>
              </a:ext>
            </a:extLst>
          </p:cNvPr>
          <p:cNvSpPr txBox="1"/>
          <p:nvPr userDrawn="1"/>
        </p:nvSpPr>
        <p:spPr bwMode="black">
          <a:xfrm>
            <a:off x="613608" y="6519948"/>
            <a:ext cx="7722832" cy="215444"/>
          </a:xfrm>
          <a:prstGeom prst="rect">
            <a:avLst/>
          </a:prstGeom>
          <a:ln>
            <a:noFill/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chemeClr val="bg1">
                    <a:lumMod val="50000"/>
                  </a:schemeClr>
                </a:solidFill>
                <a:ea typeface="Arial" charset="0"/>
                <a:cs typeface="Arial" charset="0"/>
              </a:rPr>
              <a:t>© 2025. All rights reserved. IQVIA</a:t>
            </a:r>
            <a:r>
              <a:rPr lang="en-US" sz="800" baseline="30000">
                <a:solidFill>
                  <a:schemeClr val="bg1">
                    <a:lumMod val="50000"/>
                  </a:schemeClr>
                </a:solidFill>
                <a:ea typeface="Arial" charset="0"/>
                <a:cs typeface="Arial" charset="0"/>
              </a:rPr>
              <a:t>®</a:t>
            </a:r>
            <a:r>
              <a:rPr lang="en-US" sz="800">
                <a:solidFill>
                  <a:schemeClr val="bg1">
                    <a:lumMod val="50000"/>
                  </a:schemeClr>
                </a:solidFill>
                <a:ea typeface="Arial" charset="0"/>
                <a:cs typeface="Arial" charset="0"/>
              </a:rPr>
              <a:t> is a registered trademark of IQVIA Inc. in the United States, the European Union, and various other countries. </a:t>
            </a:r>
          </a:p>
        </p:txBody>
      </p:sp>
      <p:sp>
        <p:nvSpPr>
          <p:cNvPr id="5" name="Freeform: Shape 4">
            <a:extLst>
              <a:ext uri="{FF2B5EF4-FFF2-40B4-BE49-F238E27FC236}">
                <a16:creationId xmlns:a16="http://schemas.microsoft.com/office/drawing/2014/main" id="{93076B7C-F202-996E-7DFF-5D02CB251F3F}"/>
              </a:ext>
            </a:extLst>
          </p:cNvPr>
          <p:cNvSpPr/>
          <p:nvPr userDrawn="1"/>
        </p:nvSpPr>
        <p:spPr>
          <a:xfrm rot="2700000">
            <a:off x="10287508" y="-38027"/>
            <a:ext cx="2386306" cy="3251042"/>
          </a:xfrm>
          <a:custGeom>
            <a:avLst/>
            <a:gdLst>
              <a:gd name="connsiteX0" fmla="*/ 0 w 2386306"/>
              <a:gd name="connsiteY0" fmla="*/ 573618 h 3251042"/>
              <a:gd name="connsiteX1" fmla="*/ 573618 w 2386306"/>
              <a:gd name="connsiteY1" fmla="*/ 0 h 3251042"/>
              <a:gd name="connsiteX2" fmla="*/ 2386306 w 2386306"/>
              <a:gd name="connsiteY2" fmla="*/ 1812689 h 3251042"/>
              <a:gd name="connsiteX3" fmla="*/ 2386306 w 2386306"/>
              <a:gd name="connsiteY3" fmla="*/ 2894719 h 3251042"/>
              <a:gd name="connsiteX4" fmla="*/ 2029983 w 2386306"/>
              <a:gd name="connsiteY4" fmla="*/ 3251042 h 3251042"/>
              <a:gd name="connsiteX5" fmla="*/ 356323 w 2386306"/>
              <a:gd name="connsiteY5" fmla="*/ 3251042 h 3251042"/>
              <a:gd name="connsiteX6" fmla="*/ 0 w 2386306"/>
              <a:gd name="connsiteY6" fmla="*/ 2894719 h 32510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386306" h="3251042">
                <a:moveTo>
                  <a:pt x="0" y="573618"/>
                </a:moveTo>
                <a:lnTo>
                  <a:pt x="573618" y="0"/>
                </a:lnTo>
                <a:lnTo>
                  <a:pt x="2386306" y="1812689"/>
                </a:lnTo>
                <a:lnTo>
                  <a:pt x="2386306" y="2894719"/>
                </a:lnTo>
                <a:cubicBezTo>
                  <a:pt x="2386306" y="3091511"/>
                  <a:pt x="2226775" y="3251042"/>
                  <a:pt x="2029983" y="3251042"/>
                </a:cubicBezTo>
                <a:lnTo>
                  <a:pt x="356323" y="3251042"/>
                </a:lnTo>
                <a:cubicBezTo>
                  <a:pt x="159531" y="3251042"/>
                  <a:pt x="0" y="3091511"/>
                  <a:pt x="0" y="2894719"/>
                </a:cubicBezTo>
                <a:close/>
              </a:path>
            </a:pathLst>
          </a:cu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algn="l"/>
            <a:endParaRPr lang="en-US" sz="1600" err="1"/>
          </a:p>
        </p:txBody>
      </p:sp>
      <p:sp>
        <p:nvSpPr>
          <p:cNvPr id="6" name="Freeform: Shape 5">
            <a:extLst>
              <a:ext uri="{FF2B5EF4-FFF2-40B4-BE49-F238E27FC236}">
                <a16:creationId xmlns:a16="http://schemas.microsoft.com/office/drawing/2014/main" id="{1CF6A970-AE29-6F75-C4C8-B187F617CAEC}"/>
              </a:ext>
            </a:extLst>
          </p:cNvPr>
          <p:cNvSpPr/>
          <p:nvPr userDrawn="1"/>
        </p:nvSpPr>
        <p:spPr>
          <a:xfrm rot="2700000">
            <a:off x="10132011" y="1200350"/>
            <a:ext cx="2806378" cy="2807032"/>
          </a:xfrm>
          <a:custGeom>
            <a:avLst/>
            <a:gdLst>
              <a:gd name="connsiteX0" fmla="*/ 93508 w 2806378"/>
              <a:gd name="connsiteY0" fmla="*/ 93507 h 2807032"/>
              <a:gd name="connsiteX1" fmla="*/ 319254 w 2806378"/>
              <a:gd name="connsiteY1" fmla="*/ 0 h 2807032"/>
              <a:gd name="connsiteX2" fmla="*/ 928529 w 2806378"/>
              <a:gd name="connsiteY2" fmla="*/ 0 h 2807032"/>
              <a:gd name="connsiteX3" fmla="*/ 2806378 w 2806378"/>
              <a:gd name="connsiteY3" fmla="*/ 1877849 h 2807032"/>
              <a:gd name="connsiteX4" fmla="*/ 2806378 w 2806378"/>
              <a:gd name="connsiteY4" fmla="*/ 2487778 h 2807032"/>
              <a:gd name="connsiteX5" fmla="*/ 2487124 w 2806378"/>
              <a:gd name="connsiteY5" fmla="*/ 2807032 h 2807032"/>
              <a:gd name="connsiteX6" fmla="*/ 319254 w 2806378"/>
              <a:gd name="connsiteY6" fmla="*/ 2807032 h 2807032"/>
              <a:gd name="connsiteX7" fmla="*/ 0 w 2806378"/>
              <a:gd name="connsiteY7" fmla="*/ 2487778 h 2807032"/>
              <a:gd name="connsiteX8" fmla="*/ 0 w 2806378"/>
              <a:gd name="connsiteY8" fmla="*/ 319254 h 2807032"/>
              <a:gd name="connsiteX9" fmla="*/ 93508 w 2806378"/>
              <a:gd name="connsiteY9" fmla="*/ 93507 h 28070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806378" h="2807032">
                <a:moveTo>
                  <a:pt x="93508" y="93507"/>
                </a:moveTo>
                <a:cubicBezTo>
                  <a:pt x="151281" y="35733"/>
                  <a:pt x="231095" y="0"/>
                  <a:pt x="319254" y="0"/>
                </a:cubicBezTo>
                <a:lnTo>
                  <a:pt x="928529" y="0"/>
                </a:lnTo>
                <a:lnTo>
                  <a:pt x="2806378" y="1877849"/>
                </a:lnTo>
                <a:lnTo>
                  <a:pt x="2806378" y="2487778"/>
                </a:lnTo>
                <a:cubicBezTo>
                  <a:pt x="2806378" y="2664097"/>
                  <a:pt x="2663443" y="2807032"/>
                  <a:pt x="2487124" y="2807032"/>
                </a:cubicBezTo>
                <a:lnTo>
                  <a:pt x="319254" y="2807032"/>
                </a:lnTo>
                <a:cubicBezTo>
                  <a:pt x="142935" y="2807032"/>
                  <a:pt x="0" y="2664097"/>
                  <a:pt x="0" y="2487778"/>
                </a:cubicBezTo>
                <a:lnTo>
                  <a:pt x="0" y="319254"/>
                </a:lnTo>
                <a:cubicBezTo>
                  <a:pt x="0" y="231094"/>
                  <a:pt x="35734" y="151281"/>
                  <a:pt x="93508" y="93507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algn="l"/>
            <a:endParaRPr lang="en-US" sz="1600" err="1"/>
          </a:p>
        </p:txBody>
      </p:sp>
      <p:sp>
        <p:nvSpPr>
          <p:cNvPr id="7" name="Freeform: Shape 6">
            <a:extLst>
              <a:ext uri="{FF2B5EF4-FFF2-40B4-BE49-F238E27FC236}">
                <a16:creationId xmlns:a16="http://schemas.microsoft.com/office/drawing/2014/main" id="{BC595510-407A-9229-034C-83CA1804EAD4}"/>
              </a:ext>
            </a:extLst>
          </p:cNvPr>
          <p:cNvSpPr/>
          <p:nvPr userDrawn="1"/>
        </p:nvSpPr>
        <p:spPr>
          <a:xfrm rot="2700000">
            <a:off x="10839088" y="1250954"/>
            <a:ext cx="2705824" cy="2705824"/>
          </a:xfrm>
          <a:custGeom>
            <a:avLst/>
            <a:gdLst>
              <a:gd name="connsiteX0" fmla="*/ 0 w 2705824"/>
              <a:gd name="connsiteY0" fmla="*/ 0 h 2705824"/>
              <a:gd name="connsiteX1" fmla="*/ 2705824 w 2705824"/>
              <a:gd name="connsiteY1" fmla="*/ 2705824 h 2705824"/>
              <a:gd name="connsiteX2" fmla="*/ 306766 w 2705824"/>
              <a:gd name="connsiteY2" fmla="*/ 2705824 h 2705824"/>
              <a:gd name="connsiteX3" fmla="*/ 0 w 2705824"/>
              <a:gd name="connsiteY3" fmla="*/ 2399058 h 2705824"/>
              <a:gd name="connsiteX0" fmla="*/ 2705824 w 2797264"/>
              <a:gd name="connsiteY0" fmla="*/ 2705824 h 2797264"/>
              <a:gd name="connsiteX1" fmla="*/ 306766 w 2797264"/>
              <a:gd name="connsiteY1" fmla="*/ 2705824 h 2797264"/>
              <a:gd name="connsiteX2" fmla="*/ 0 w 2797264"/>
              <a:gd name="connsiteY2" fmla="*/ 2399058 h 2797264"/>
              <a:gd name="connsiteX3" fmla="*/ 0 w 2797264"/>
              <a:gd name="connsiteY3" fmla="*/ 0 h 2797264"/>
              <a:gd name="connsiteX4" fmla="*/ 2797264 w 2797264"/>
              <a:gd name="connsiteY4" fmla="*/ 2797264 h 2797264"/>
              <a:gd name="connsiteX0" fmla="*/ 2705824 w 2705824"/>
              <a:gd name="connsiteY0" fmla="*/ 2705824 h 2705824"/>
              <a:gd name="connsiteX1" fmla="*/ 306766 w 2705824"/>
              <a:gd name="connsiteY1" fmla="*/ 2705824 h 2705824"/>
              <a:gd name="connsiteX2" fmla="*/ 0 w 2705824"/>
              <a:gd name="connsiteY2" fmla="*/ 2399058 h 2705824"/>
              <a:gd name="connsiteX3" fmla="*/ 0 w 2705824"/>
              <a:gd name="connsiteY3" fmla="*/ 0 h 27058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705824" h="2705824">
                <a:moveTo>
                  <a:pt x="2705824" y="2705824"/>
                </a:moveTo>
                <a:lnTo>
                  <a:pt x="306766" y="2705824"/>
                </a:lnTo>
                <a:cubicBezTo>
                  <a:pt x="137344" y="2705824"/>
                  <a:pt x="0" y="2568480"/>
                  <a:pt x="0" y="2399058"/>
                </a:cubicBezTo>
                <a:lnTo>
                  <a:pt x="0" y="0"/>
                </a:lnTo>
              </a:path>
            </a:pathLst>
          </a:custGeom>
          <a:noFill/>
          <a:ln>
            <a:solidFill>
              <a:srgbClr val="0CEFC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algn="l"/>
            <a:endParaRPr lang="en-US" sz="1600" err="1"/>
          </a:p>
        </p:txBody>
      </p:sp>
    </p:spTree>
    <p:extLst>
      <p:ext uri="{BB962C8B-B14F-4D97-AF65-F5344CB8AC3E}">
        <p14:creationId xmlns:p14="http://schemas.microsoft.com/office/powerpoint/2010/main" val="369575278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8" Type="http://schemas.openxmlformats.org/officeDocument/2006/relationships/slideLayout" Target="../slideLayouts/slideLayout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384694" y="6387858"/>
            <a:ext cx="9290304" cy="338087"/>
          </a:xfrm>
          <a:prstGeom prst="rect">
            <a:avLst/>
          </a:prstGeom>
          <a:noFill/>
        </p:spPr>
        <p:txBody>
          <a:bodyPr vert="horz" lIns="91440" tIns="45720" rIns="91440" bIns="45720" rtlCol="0" anchor="b" anchorCtr="0"/>
          <a:lstStyle>
            <a:lvl1pPr algn="l">
              <a:defRPr sz="8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</a:lstStyle>
          <a:p>
            <a:endParaRPr lang="en-US"/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3CC58985-6F6A-8540-ABC2-450EF4A8FB42}"/>
              </a:ext>
            </a:extLst>
          </p:cNvPr>
          <p:cNvSpPr txBox="1"/>
          <p:nvPr/>
        </p:nvSpPr>
        <p:spPr bwMode="black">
          <a:xfrm>
            <a:off x="6096000" y="6858000"/>
            <a:ext cx="6096001" cy="276999"/>
          </a:xfrm>
          <a:prstGeom prst="rect">
            <a:avLst/>
          </a:prstGeom>
          <a:ln>
            <a:noFill/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1" i="0" u="none" strike="noStrike" kern="1200">
                <a:solidFill>
                  <a:schemeClr val="bg1">
                    <a:lumMod val="50000"/>
                  </a:schemeClr>
                </a:solidFill>
                <a:effectLst/>
                <a:latin typeface="+mn-lt"/>
                <a:ea typeface="+mn-ea"/>
                <a:cs typeface="+mn-cs"/>
              </a:rPr>
              <a:t>IQVIA Template (V3.0.0)</a:t>
            </a:r>
            <a:endParaRPr lang="en-US" sz="1000" kern="1200">
              <a:solidFill>
                <a:schemeClr val="bg1">
                  <a:lumMod val="50000"/>
                </a:schemeClr>
              </a:solidFill>
              <a:latin typeface="+mn-lt"/>
              <a:ea typeface="Arial" charset="0"/>
              <a:cs typeface="Arial" charset="0"/>
            </a:endParaRPr>
          </a:p>
        </p:txBody>
      </p:sp>
      <p:grpSp>
        <p:nvGrpSpPr>
          <p:cNvPr id="147" name="Group 146">
            <a:extLst>
              <a:ext uri="{FF2B5EF4-FFF2-40B4-BE49-F238E27FC236}">
                <a16:creationId xmlns:a16="http://schemas.microsoft.com/office/drawing/2014/main" id="{8ADA47BD-E4A5-7845-BFB3-F0B0FFBC057C}"/>
              </a:ext>
            </a:extLst>
          </p:cNvPr>
          <p:cNvGrpSpPr/>
          <p:nvPr userDrawn="1"/>
        </p:nvGrpSpPr>
        <p:grpSpPr>
          <a:xfrm>
            <a:off x="12308083" y="0"/>
            <a:ext cx="851744" cy="3915867"/>
            <a:chOff x="5958724" y="2146789"/>
            <a:chExt cx="851744" cy="3915867"/>
          </a:xfrm>
        </p:grpSpPr>
        <p:sp>
          <p:nvSpPr>
            <p:cNvPr id="148" name="Rectangle 147">
              <a:extLst>
                <a:ext uri="{FF2B5EF4-FFF2-40B4-BE49-F238E27FC236}">
                  <a16:creationId xmlns:a16="http://schemas.microsoft.com/office/drawing/2014/main" id="{F46DD2B6-4144-9C44-8392-9127F5DADBD1}"/>
                </a:ext>
              </a:extLst>
            </p:cNvPr>
            <p:cNvSpPr/>
            <p:nvPr/>
          </p:nvSpPr>
          <p:spPr bwMode="gray">
            <a:xfrm>
              <a:off x="5958724" y="4367503"/>
              <a:ext cx="187184" cy="187184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700"/>
            </a:p>
          </p:txBody>
        </p:sp>
        <p:sp>
          <p:nvSpPr>
            <p:cNvPr id="149" name="Rectangle 148">
              <a:extLst>
                <a:ext uri="{FF2B5EF4-FFF2-40B4-BE49-F238E27FC236}">
                  <a16:creationId xmlns:a16="http://schemas.microsoft.com/office/drawing/2014/main" id="{BBE2A7EF-3365-0441-9D19-475B521B2290}"/>
                </a:ext>
              </a:extLst>
            </p:cNvPr>
            <p:cNvSpPr/>
            <p:nvPr/>
          </p:nvSpPr>
          <p:spPr bwMode="gray">
            <a:xfrm>
              <a:off x="6401764" y="4367503"/>
              <a:ext cx="187184" cy="187184"/>
            </a:xfrm>
            <a:prstGeom prst="rect">
              <a:avLst/>
            </a:prstGeom>
            <a:solidFill>
              <a:srgbClr val="606B7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700"/>
            </a:p>
          </p:txBody>
        </p:sp>
        <p:sp>
          <p:nvSpPr>
            <p:cNvPr id="150" name="Rectangle 149">
              <a:extLst>
                <a:ext uri="{FF2B5EF4-FFF2-40B4-BE49-F238E27FC236}">
                  <a16:creationId xmlns:a16="http://schemas.microsoft.com/office/drawing/2014/main" id="{F5E57586-5BBB-444A-AF8C-B41739BFA68E}"/>
                </a:ext>
              </a:extLst>
            </p:cNvPr>
            <p:cNvSpPr/>
            <p:nvPr/>
          </p:nvSpPr>
          <p:spPr bwMode="gray">
            <a:xfrm>
              <a:off x="6623283" y="4367503"/>
              <a:ext cx="187184" cy="187184"/>
            </a:xfrm>
            <a:prstGeom prst="rect">
              <a:avLst/>
            </a:prstGeom>
            <a:solidFill>
              <a:srgbClr val="CACED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700"/>
            </a:p>
          </p:txBody>
        </p:sp>
        <p:sp>
          <p:nvSpPr>
            <p:cNvPr id="151" name="Rectangle 150">
              <a:extLst>
                <a:ext uri="{FF2B5EF4-FFF2-40B4-BE49-F238E27FC236}">
                  <a16:creationId xmlns:a16="http://schemas.microsoft.com/office/drawing/2014/main" id="{7900B15B-0301-9442-BA29-DAF74AC2ED47}"/>
                </a:ext>
              </a:extLst>
            </p:cNvPr>
            <p:cNvSpPr/>
            <p:nvPr/>
          </p:nvSpPr>
          <p:spPr bwMode="gray">
            <a:xfrm>
              <a:off x="6180244" y="4367503"/>
              <a:ext cx="187184" cy="187184"/>
            </a:xfrm>
            <a:prstGeom prst="rect">
              <a:avLst/>
            </a:prstGeom>
            <a:solidFill>
              <a:srgbClr val="959CA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700"/>
            </a:p>
          </p:txBody>
        </p:sp>
        <p:sp>
          <p:nvSpPr>
            <p:cNvPr id="152" name="Rectangle 151">
              <a:extLst>
                <a:ext uri="{FF2B5EF4-FFF2-40B4-BE49-F238E27FC236}">
                  <a16:creationId xmlns:a16="http://schemas.microsoft.com/office/drawing/2014/main" id="{DD901AD7-A1AE-D147-9240-470D94A80732}"/>
                </a:ext>
              </a:extLst>
            </p:cNvPr>
            <p:cNvSpPr/>
            <p:nvPr/>
          </p:nvSpPr>
          <p:spPr bwMode="gray">
            <a:xfrm>
              <a:off x="5958724" y="5230398"/>
              <a:ext cx="187184" cy="187184"/>
            </a:xfrm>
            <a:prstGeom prst="rect">
              <a:avLst/>
            </a:prstGeom>
            <a:solidFill>
              <a:srgbClr val="83006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700"/>
            </a:p>
          </p:txBody>
        </p:sp>
        <p:sp>
          <p:nvSpPr>
            <p:cNvPr id="153" name="Rectangle 152">
              <a:extLst>
                <a:ext uri="{FF2B5EF4-FFF2-40B4-BE49-F238E27FC236}">
                  <a16:creationId xmlns:a16="http://schemas.microsoft.com/office/drawing/2014/main" id="{7BE91BB9-CB37-5644-9D3E-65E05DA24DFB}"/>
                </a:ext>
              </a:extLst>
            </p:cNvPr>
            <p:cNvSpPr/>
            <p:nvPr/>
          </p:nvSpPr>
          <p:spPr bwMode="gray">
            <a:xfrm>
              <a:off x="6180244" y="5230398"/>
              <a:ext cx="187184" cy="187184"/>
            </a:xfrm>
            <a:prstGeom prst="rect">
              <a:avLst/>
            </a:prstGeom>
            <a:solidFill>
              <a:srgbClr val="C17FB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700"/>
            </a:p>
          </p:txBody>
        </p:sp>
        <p:sp>
          <p:nvSpPr>
            <p:cNvPr id="154" name="Rectangle 153">
              <a:extLst>
                <a:ext uri="{FF2B5EF4-FFF2-40B4-BE49-F238E27FC236}">
                  <a16:creationId xmlns:a16="http://schemas.microsoft.com/office/drawing/2014/main" id="{EF40564E-4C5B-F540-BCD2-987DECECBC4B}"/>
                </a:ext>
              </a:extLst>
            </p:cNvPr>
            <p:cNvSpPr/>
            <p:nvPr/>
          </p:nvSpPr>
          <p:spPr bwMode="gray">
            <a:xfrm>
              <a:off x="6401764" y="5230398"/>
              <a:ext cx="187184" cy="187184"/>
            </a:xfrm>
            <a:prstGeom prst="rect">
              <a:avLst/>
            </a:prstGeom>
            <a:solidFill>
              <a:srgbClr val="A2408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700"/>
            </a:p>
          </p:txBody>
        </p:sp>
        <p:sp>
          <p:nvSpPr>
            <p:cNvPr id="155" name="Rectangle 154">
              <a:extLst>
                <a:ext uri="{FF2B5EF4-FFF2-40B4-BE49-F238E27FC236}">
                  <a16:creationId xmlns:a16="http://schemas.microsoft.com/office/drawing/2014/main" id="{60B69A35-7556-7E46-B4BF-B9A458A4FC9C}"/>
                </a:ext>
              </a:extLst>
            </p:cNvPr>
            <p:cNvSpPr/>
            <p:nvPr/>
          </p:nvSpPr>
          <p:spPr bwMode="gray">
            <a:xfrm>
              <a:off x="6623284" y="5230398"/>
              <a:ext cx="187184" cy="187184"/>
            </a:xfrm>
            <a:prstGeom prst="rect">
              <a:avLst/>
            </a:prstGeom>
            <a:solidFill>
              <a:srgbClr val="E0BFD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700"/>
            </a:p>
          </p:txBody>
        </p:sp>
        <p:sp>
          <p:nvSpPr>
            <p:cNvPr id="156" name="TextBox 155">
              <a:extLst>
                <a:ext uri="{FF2B5EF4-FFF2-40B4-BE49-F238E27FC236}">
                  <a16:creationId xmlns:a16="http://schemas.microsoft.com/office/drawing/2014/main" id="{F396C095-9B66-F444-862E-DE666BC5DC9E}"/>
                </a:ext>
              </a:extLst>
            </p:cNvPr>
            <p:cNvSpPr txBox="1"/>
            <p:nvPr/>
          </p:nvSpPr>
          <p:spPr>
            <a:xfrm>
              <a:off x="5958724" y="2146789"/>
              <a:ext cx="851744" cy="184666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pPr algn="ctr"/>
              <a:r>
                <a:rPr lang="en-US" sz="600">
                  <a:solidFill>
                    <a:schemeClr val="tx1"/>
                  </a:solidFill>
                </a:rPr>
                <a:t>100%  50%   75%   25%</a:t>
              </a:r>
            </a:p>
          </p:txBody>
        </p:sp>
        <p:sp>
          <p:nvSpPr>
            <p:cNvPr id="157" name="Rectangle 156">
              <a:extLst>
                <a:ext uri="{FF2B5EF4-FFF2-40B4-BE49-F238E27FC236}">
                  <a16:creationId xmlns:a16="http://schemas.microsoft.com/office/drawing/2014/main" id="{480FE3E9-3530-C64D-B638-EC4604BABA48}"/>
                </a:ext>
              </a:extLst>
            </p:cNvPr>
            <p:cNvSpPr/>
            <p:nvPr/>
          </p:nvSpPr>
          <p:spPr bwMode="gray">
            <a:xfrm>
              <a:off x="5958724" y="5875472"/>
              <a:ext cx="187184" cy="187184"/>
            </a:xfrm>
            <a:prstGeom prst="rect">
              <a:avLst/>
            </a:prstGeom>
            <a:solidFill>
              <a:srgbClr val="F4F4F4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700"/>
            </a:p>
          </p:txBody>
        </p:sp>
        <p:sp>
          <p:nvSpPr>
            <p:cNvPr id="158" name="Rectangle 157">
              <a:extLst>
                <a:ext uri="{FF2B5EF4-FFF2-40B4-BE49-F238E27FC236}">
                  <a16:creationId xmlns:a16="http://schemas.microsoft.com/office/drawing/2014/main" id="{25FA0A73-ADED-6F42-9167-2CF5F6F9E90A}"/>
                </a:ext>
              </a:extLst>
            </p:cNvPr>
            <p:cNvSpPr/>
            <p:nvPr/>
          </p:nvSpPr>
          <p:spPr bwMode="gray">
            <a:xfrm>
              <a:off x="5958724" y="5019103"/>
              <a:ext cx="187184" cy="187184"/>
            </a:xfrm>
            <a:prstGeom prst="rect">
              <a:avLst/>
            </a:prstGeom>
            <a:solidFill>
              <a:srgbClr val="C627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700"/>
            </a:p>
          </p:txBody>
        </p:sp>
        <p:sp>
          <p:nvSpPr>
            <p:cNvPr id="159" name="Rectangle 158">
              <a:extLst>
                <a:ext uri="{FF2B5EF4-FFF2-40B4-BE49-F238E27FC236}">
                  <a16:creationId xmlns:a16="http://schemas.microsoft.com/office/drawing/2014/main" id="{AE835229-8F21-9A48-BD16-620E2017B79C}"/>
                </a:ext>
              </a:extLst>
            </p:cNvPr>
            <p:cNvSpPr/>
            <p:nvPr/>
          </p:nvSpPr>
          <p:spPr bwMode="gray">
            <a:xfrm>
              <a:off x="6180244" y="5019103"/>
              <a:ext cx="187184" cy="187184"/>
            </a:xfrm>
            <a:prstGeom prst="rect">
              <a:avLst/>
            </a:prstGeom>
            <a:solidFill>
              <a:srgbClr val="E99EC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700"/>
            </a:p>
          </p:txBody>
        </p:sp>
        <p:sp>
          <p:nvSpPr>
            <p:cNvPr id="160" name="Rectangle 159">
              <a:extLst>
                <a:ext uri="{FF2B5EF4-FFF2-40B4-BE49-F238E27FC236}">
                  <a16:creationId xmlns:a16="http://schemas.microsoft.com/office/drawing/2014/main" id="{8BAF336C-0CDF-0A49-A8D2-0BA6C083EEAF}"/>
                </a:ext>
              </a:extLst>
            </p:cNvPr>
            <p:cNvSpPr/>
            <p:nvPr/>
          </p:nvSpPr>
          <p:spPr bwMode="gray">
            <a:xfrm>
              <a:off x="6401764" y="5019103"/>
              <a:ext cx="187184" cy="187184"/>
            </a:xfrm>
            <a:prstGeom prst="rect">
              <a:avLst/>
            </a:prstGeom>
            <a:solidFill>
              <a:srgbClr val="DB6CB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700"/>
            </a:p>
          </p:txBody>
        </p:sp>
        <p:sp>
          <p:nvSpPr>
            <p:cNvPr id="161" name="Rectangle 160">
              <a:extLst>
                <a:ext uri="{FF2B5EF4-FFF2-40B4-BE49-F238E27FC236}">
                  <a16:creationId xmlns:a16="http://schemas.microsoft.com/office/drawing/2014/main" id="{B01A576D-7D44-DA4B-8DCF-7D091109B952}"/>
                </a:ext>
              </a:extLst>
            </p:cNvPr>
            <p:cNvSpPr/>
            <p:nvPr/>
          </p:nvSpPr>
          <p:spPr bwMode="gray">
            <a:xfrm>
              <a:off x="6623284" y="5019103"/>
              <a:ext cx="187184" cy="187184"/>
            </a:xfrm>
            <a:prstGeom prst="rect">
              <a:avLst/>
            </a:prstGeom>
            <a:solidFill>
              <a:srgbClr val="F5CEE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700"/>
            </a:p>
          </p:txBody>
        </p:sp>
        <p:sp>
          <p:nvSpPr>
            <p:cNvPr id="162" name="Rectangle 161">
              <a:extLst>
                <a:ext uri="{FF2B5EF4-FFF2-40B4-BE49-F238E27FC236}">
                  <a16:creationId xmlns:a16="http://schemas.microsoft.com/office/drawing/2014/main" id="{5CE1B164-8B08-1A46-8990-C0E66043BE64}"/>
                </a:ext>
              </a:extLst>
            </p:cNvPr>
            <p:cNvSpPr/>
            <p:nvPr/>
          </p:nvSpPr>
          <p:spPr bwMode="gray">
            <a:xfrm>
              <a:off x="5958724" y="5448992"/>
              <a:ext cx="187184" cy="187184"/>
            </a:xfrm>
            <a:prstGeom prst="rect">
              <a:avLst/>
            </a:prstGeom>
            <a:solidFill>
              <a:srgbClr val="DA291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700"/>
            </a:p>
          </p:txBody>
        </p:sp>
        <p:sp>
          <p:nvSpPr>
            <p:cNvPr id="163" name="Rectangle 162">
              <a:extLst>
                <a:ext uri="{FF2B5EF4-FFF2-40B4-BE49-F238E27FC236}">
                  <a16:creationId xmlns:a16="http://schemas.microsoft.com/office/drawing/2014/main" id="{FABDCF59-39B4-D741-804B-DA8E5356DEE0}"/>
                </a:ext>
              </a:extLst>
            </p:cNvPr>
            <p:cNvSpPr/>
            <p:nvPr/>
          </p:nvSpPr>
          <p:spPr bwMode="gray">
            <a:xfrm>
              <a:off x="6180244" y="2343732"/>
              <a:ext cx="187184" cy="187184"/>
            </a:xfrm>
            <a:prstGeom prst="rect">
              <a:avLst/>
            </a:prstGeom>
            <a:solidFill>
              <a:srgbClr val="7FD1E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64" name="Rectangle 163">
              <a:extLst>
                <a:ext uri="{FF2B5EF4-FFF2-40B4-BE49-F238E27FC236}">
                  <a16:creationId xmlns:a16="http://schemas.microsoft.com/office/drawing/2014/main" id="{51FF5A3B-DFB1-5F43-A2EF-04D81F0CA37E}"/>
                </a:ext>
              </a:extLst>
            </p:cNvPr>
            <p:cNvSpPr/>
            <p:nvPr/>
          </p:nvSpPr>
          <p:spPr bwMode="gray">
            <a:xfrm>
              <a:off x="6180244" y="2565037"/>
              <a:ext cx="187184" cy="187184"/>
            </a:xfrm>
            <a:prstGeom prst="rect">
              <a:avLst/>
            </a:prstGeom>
            <a:solidFill>
              <a:srgbClr val="7FAAC3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65" name="Rectangle 164">
              <a:extLst>
                <a:ext uri="{FF2B5EF4-FFF2-40B4-BE49-F238E27FC236}">
                  <a16:creationId xmlns:a16="http://schemas.microsoft.com/office/drawing/2014/main" id="{48595AD6-FC65-BD4F-A0A3-C9735B09BF97}"/>
                </a:ext>
              </a:extLst>
            </p:cNvPr>
            <p:cNvSpPr/>
            <p:nvPr/>
          </p:nvSpPr>
          <p:spPr bwMode="gray">
            <a:xfrm>
              <a:off x="6401763" y="2343732"/>
              <a:ext cx="187184" cy="187184"/>
            </a:xfrm>
            <a:prstGeom prst="rect">
              <a:avLst/>
            </a:prstGeom>
            <a:solidFill>
              <a:srgbClr val="40BAE8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66" name="Rectangle 165">
              <a:extLst>
                <a:ext uri="{FF2B5EF4-FFF2-40B4-BE49-F238E27FC236}">
                  <a16:creationId xmlns:a16="http://schemas.microsoft.com/office/drawing/2014/main" id="{C2D4C9F2-E663-FE4E-91B5-486C3221C4FF}"/>
                </a:ext>
              </a:extLst>
            </p:cNvPr>
            <p:cNvSpPr/>
            <p:nvPr/>
          </p:nvSpPr>
          <p:spPr bwMode="gray">
            <a:xfrm>
              <a:off x="6401763" y="2565037"/>
              <a:ext cx="187184" cy="187184"/>
            </a:xfrm>
            <a:prstGeom prst="rect">
              <a:avLst/>
            </a:prstGeom>
            <a:solidFill>
              <a:srgbClr val="4080A5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67" name="Rectangle 166">
              <a:extLst>
                <a:ext uri="{FF2B5EF4-FFF2-40B4-BE49-F238E27FC236}">
                  <a16:creationId xmlns:a16="http://schemas.microsoft.com/office/drawing/2014/main" id="{4E87748B-6503-C94A-A0A5-ECF75744DC53}"/>
                </a:ext>
              </a:extLst>
            </p:cNvPr>
            <p:cNvSpPr/>
            <p:nvPr/>
          </p:nvSpPr>
          <p:spPr bwMode="gray">
            <a:xfrm>
              <a:off x="6623283" y="2343732"/>
              <a:ext cx="187184" cy="187184"/>
            </a:xfrm>
            <a:prstGeom prst="rect">
              <a:avLst/>
            </a:prstGeom>
            <a:solidFill>
              <a:srgbClr val="BFE8F7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68" name="Rectangle 167">
              <a:extLst>
                <a:ext uri="{FF2B5EF4-FFF2-40B4-BE49-F238E27FC236}">
                  <a16:creationId xmlns:a16="http://schemas.microsoft.com/office/drawing/2014/main" id="{18F062A5-65F4-EC4E-99C6-45D7627564E3}"/>
                </a:ext>
              </a:extLst>
            </p:cNvPr>
            <p:cNvSpPr/>
            <p:nvPr/>
          </p:nvSpPr>
          <p:spPr bwMode="gray">
            <a:xfrm>
              <a:off x="6623283" y="2565037"/>
              <a:ext cx="187184" cy="187184"/>
            </a:xfrm>
            <a:prstGeom prst="rect">
              <a:avLst/>
            </a:prstGeom>
            <a:solidFill>
              <a:srgbClr val="BFD4E1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69" name="Rectangle 168">
              <a:extLst>
                <a:ext uri="{FF2B5EF4-FFF2-40B4-BE49-F238E27FC236}">
                  <a16:creationId xmlns:a16="http://schemas.microsoft.com/office/drawing/2014/main" id="{3C6FF5B6-5DBB-B04F-B902-B9A93A757215}"/>
                </a:ext>
              </a:extLst>
            </p:cNvPr>
            <p:cNvSpPr/>
            <p:nvPr/>
          </p:nvSpPr>
          <p:spPr bwMode="gray">
            <a:xfrm>
              <a:off x="5958724" y="3700925"/>
              <a:ext cx="187184" cy="187184"/>
            </a:xfrm>
            <a:prstGeom prst="rect">
              <a:avLst/>
            </a:prstGeom>
            <a:solidFill>
              <a:srgbClr val="43B02A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70" name="Rectangle 169">
              <a:extLst>
                <a:ext uri="{FF2B5EF4-FFF2-40B4-BE49-F238E27FC236}">
                  <a16:creationId xmlns:a16="http://schemas.microsoft.com/office/drawing/2014/main" id="{B2008AA1-3AD4-1E4C-B34C-1BAB347F3885}"/>
                </a:ext>
              </a:extLst>
            </p:cNvPr>
            <p:cNvSpPr/>
            <p:nvPr/>
          </p:nvSpPr>
          <p:spPr bwMode="gray">
            <a:xfrm>
              <a:off x="6180244" y="4583145"/>
              <a:ext cx="187184" cy="187184"/>
            </a:xfrm>
            <a:prstGeom prst="rect">
              <a:avLst/>
            </a:prstGeom>
            <a:solidFill>
              <a:srgbClr val="F7D991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71" name="Rectangle 170">
              <a:extLst>
                <a:ext uri="{FF2B5EF4-FFF2-40B4-BE49-F238E27FC236}">
                  <a16:creationId xmlns:a16="http://schemas.microsoft.com/office/drawing/2014/main" id="{415782FB-236F-3E4E-B840-8903CA2A46D6}"/>
                </a:ext>
              </a:extLst>
            </p:cNvPr>
            <p:cNvSpPr/>
            <p:nvPr/>
          </p:nvSpPr>
          <p:spPr bwMode="gray">
            <a:xfrm>
              <a:off x="6401763" y="4583145"/>
              <a:ext cx="187184" cy="187184"/>
            </a:xfrm>
            <a:prstGeom prst="rect">
              <a:avLst/>
            </a:prstGeom>
            <a:solidFill>
              <a:srgbClr val="F4C65A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72" name="Rectangle 171">
              <a:extLst>
                <a:ext uri="{FF2B5EF4-FFF2-40B4-BE49-F238E27FC236}">
                  <a16:creationId xmlns:a16="http://schemas.microsoft.com/office/drawing/2014/main" id="{99C6C7E8-E1A5-D848-873A-234390B695A6}"/>
                </a:ext>
              </a:extLst>
            </p:cNvPr>
            <p:cNvSpPr/>
            <p:nvPr/>
          </p:nvSpPr>
          <p:spPr bwMode="gray">
            <a:xfrm>
              <a:off x="6623283" y="4583145"/>
              <a:ext cx="187184" cy="187184"/>
            </a:xfrm>
            <a:prstGeom prst="rect">
              <a:avLst/>
            </a:prstGeom>
            <a:solidFill>
              <a:srgbClr val="FBECC8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73" name="Rectangle 172">
              <a:extLst>
                <a:ext uri="{FF2B5EF4-FFF2-40B4-BE49-F238E27FC236}">
                  <a16:creationId xmlns:a16="http://schemas.microsoft.com/office/drawing/2014/main" id="{7BC28099-48BB-8E4A-9E3A-F5749D3F9E0A}"/>
                </a:ext>
              </a:extLst>
            </p:cNvPr>
            <p:cNvSpPr/>
            <p:nvPr/>
          </p:nvSpPr>
          <p:spPr bwMode="gray">
            <a:xfrm>
              <a:off x="5958724" y="2566491"/>
              <a:ext cx="187184" cy="187184"/>
            </a:xfrm>
            <a:prstGeom prst="rect">
              <a:avLst/>
            </a:prstGeom>
            <a:solidFill>
              <a:srgbClr val="005587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74" name="Rectangle 173">
              <a:extLst>
                <a:ext uri="{FF2B5EF4-FFF2-40B4-BE49-F238E27FC236}">
                  <a16:creationId xmlns:a16="http://schemas.microsoft.com/office/drawing/2014/main" id="{63E571ED-E3FF-5845-A5E1-0018A8108B4A}"/>
                </a:ext>
              </a:extLst>
            </p:cNvPr>
            <p:cNvSpPr/>
            <p:nvPr/>
          </p:nvSpPr>
          <p:spPr bwMode="gray">
            <a:xfrm>
              <a:off x="6180244" y="4804513"/>
              <a:ext cx="187184" cy="187184"/>
            </a:xfrm>
            <a:prstGeom prst="rect">
              <a:avLst/>
            </a:prstGeom>
            <a:solidFill>
              <a:srgbClr val="FEC488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75" name="Rectangle 174">
              <a:extLst>
                <a:ext uri="{FF2B5EF4-FFF2-40B4-BE49-F238E27FC236}">
                  <a16:creationId xmlns:a16="http://schemas.microsoft.com/office/drawing/2014/main" id="{6B6BB2FF-AD78-0C41-B253-007FB067303C}"/>
                </a:ext>
              </a:extLst>
            </p:cNvPr>
            <p:cNvSpPr/>
            <p:nvPr/>
          </p:nvSpPr>
          <p:spPr bwMode="gray">
            <a:xfrm>
              <a:off x="6401763" y="4804513"/>
              <a:ext cx="187184" cy="187184"/>
            </a:xfrm>
            <a:prstGeom prst="rect">
              <a:avLst/>
            </a:prstGeom>
            <a:solidFill>
              <a:srgbClr val="FEA74D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76" name="Rectangle 175">
              <a:extLst>
                <a:ext uri="{FF2B5EF4-FFF2-40B4-BE49-F238E27FC236}">
                  <a16:creationId xmlns:a16="http://schemas.microsoft.com/office/drawing/2014/main" id="{72D84D15-FC10-8449-A8DF-0693CC5AD3C8}"/>
                </a:ext>
              </a:extLst>
            </p:cNvPr>
            <p:cNvSpPr/>
            <p:nvPr/>
          </p:nvSpPr>
          <p:spPr bwMode="gray">
            <a:xfrm>
              <a:off x="6623283" y="4804513"/>
              <a:ext cx="187184" cy="187184"/>
            </a:xfrm>
            <a:prstGeom prst="rect">
              <a:avLst/>
            </a:prstGeom>
            <a:solidFill>
              <a:srgbClr val="FFE2C4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77" name="Rectangle 176">
              <a:extLst>
                <a:ext uri="{FF2B5EF4-FFF2-40B4-BE49-F238E27FC236}">
                  <a16:creationId xmlns:a16="http://schemas.microsoft.com/office/drawing/2014/main" id="{1412DE59-4F68-1A4F-81B2-F45A075CF184}"/>
                </a:ext>
              </a:extLst>
            </p:cNvPr>
            <p:cNvSpPr/>
            <p:nvPr/>
          </p:nvSpPr>
          <p:spPr bwMode="gray">
            <a:xfrm>
              <a:off x="5958724" y="2343732"/>
              <a:ext cx="187184" cy="187184"/>
            </a:xfrm>
            <a:prstGeom prst="rect">
              <a:avLst/>
            </a:prstGeom>
            <a:solidFill>
              <a:srgbClr val="00A3E0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78" name="Rectangle 177">
              <a:extLst>
                <a:ext uri="{FF2B5EF4-FFF2-40B4-BE49-F238E27FC236}">
                  <a16:creationId xmlns:a16="http://schemas.microsoft.com/office/drawing/2014/main" id="{C91C1BDA-5D81-794C-B1A7-67CC9CE1EE1E}"/>
                </a:ext>
              </a:extLst>
            </p:cNvPr>
            <p:cNvSpPr/>
            <p:nvPr/>
          </p:nvSpPr>
          <p:spPr bwMode="gray">
            <a:xfrm>
              <a:off x="6180244" y="3017653"/>
              <a:ext cx="187184" cy="187184"/>
            </a:xfrm>
            <a:prstGeom prst="rect">
              <a:avLst/>
            </a:prstGeom>
            <a:solidFill>
              <a:srgbClr val="7FDFD9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79" name="Rectangle 178">
              <a:extLst>
                <a:ext uri="{FF2B5EF4-FFF2-40B4-BE49-F238E27FC236}">
                  <a16:creationId xmlns:a16="http://schemas.microsoft.com/office/drawing/2014/main" id="{E26E8257-987A-C249-A28B-F90461918BC4}"/>
                </a:ext>
              </a:extLst>
            </p:cNvPr>
            <p:cNvSpPr/>
            <p:nvPr/>
          </p:nvSpPr>
          <p:spPr bwMode="gray">
            <a:xfrm>
              <a:off x="6401763" y="3017653"/>
              <a:ext cx="187184" cy="187184"/>
            </a:xfrm>
            <a:prstGeom prst="rect">
              <a:avLst/>
            </a:prstGeom>
            <a:solidFill>
              <a:srgbClr val="40CFC6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80" name="Rectangle 179">
              <a:extLst>
                <a:ext uri="{FF2B5EF4-FFF2-40B4-BE49-F238E27FC236}">
                  <a16:creationId xmlns:a16="http://schemas.microsoft.com/office/drawing/2014/main" id="{9C325A48-0CB1-104E-BA30-9A71DD6D61AB}"/>
                </a:ext>
              </a:extLst>
            </p:cNvPr>
            <p:cNvSpPr/>
            <p:nvPr/>
          </p:nvSpPr>
          <p:spPr bwMode="gray">
            <a:xfrm>
              <a:off x="6623283" y="3017653"/>
              <a:ext cx="187184" cy="187184"/>
            </a:xfrm>
            <a:prstGeom prst="rect">
              <a:avLst/>
            </a:prstGeom>
            <a:solidFill>
              <a:srgbClr val="BFEFEC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81" name="Rectangle 180">
              <a:extLst>
                <a:ext uri="{FF2B5EF4-FFF2-40B4-BE49-F238E27FC236}">
                  <a16:creationId xmlns:a16="http://schemas.microsoft.com/office/drawing/2014/main" id="{2A36493E-9946-3341-A680-94F587D7EB67}"/>
                </a:ext>
              </a:extLst>
            </p:cNvPr>
            <p:cNvSpPr/>
            <p:nvPr/>
          </p:nvSpPr>
          <p:spPr bwMode="gray">
            <a:xfrm>
              <a:off x="5958724" y="4584599"/>
              <a:ext cx="187184" cy="187184"/>
            </a:xfrm>
            <a:prstGeom prst="rect">
              <a:avLst/>
            </a:prstGeom>
            <a:solidFill>
              <a:srgbClr val="F0B323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82" name="Rectangle 181">
              <a:extLst>
                <a:ext uri="{FF2B5EF4-FFF2-40B4-BE49-F238E27FC236}">
                  <a16:creationId xmlns:a16="http://schemas.microsoft.com/office/drawing/2014/main" id="{F65DD10B-52F6-9841-91B3-81394F672A9F}"/>
                </a:ext>
              </a:extLst>
            </p:cNvPr>
            <p:cNvSpPr/>
            <p:nvPr/>
          </p:nvSpPr>
          <p:spPr bwMode="gray">
            <a:xfrm>
              <a:off x="5958724" y="4804513"/>
              <a:ext cx="187184" cy="187184"/>
            </a:xfrm>
            <a:prstGeom prst="rect">
              <a:avLst/>
            </a:prstGeom>
            <a:solidFill>
              <a:srgbClr val="FE8A12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83" name="Rectangle 182">
              <a:extLst>
                <a:ext uri="{FF2B5EF4-FFF2-40B4-BE49-F238E27FC236}">
                  <a16:creationId xmlns:a16="http://schemas.microsoft.com/office/drawing/2014/main" id="{96B5B61B-C053-424B-AAFB-3CAEB0DDF986}"/>
                </a:ext>
              </a:extLst>
            </p:cNvPr>
            <p:cNvSpPr/>
            <p:nvPr/>
          </p:nvSpPr>
          <p:spPr bwMode="gray">
            <a:xfrm>
              <a:off x="5958724" y="3020561"/>
              <a:ext cx="187184" cy="187184"/>
            </a:xfrm>
            <a:prstGeom prst="rect">
              <a:avLst/>
            </a:prstGeom>
            <a:solidFill>
              <a:srgbClr val="00BFB3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84" name="Rectangle 183">
              <a:extLst>
                <a:ext uri="{FF2B5EF4-FFF2-40B4-BE49-F238E27FC236}">
                  <a16:creationId xmlns:a16="http://schemas.microsoft.com/office/drawing/2014/main" id="{A9EA6558-DD3B-7A4C-91B0-97252C1832CF}"/>
                </a:ext>
              </a:extLst>
            </p:cNvPr>
            <p:cNvSpPr/>
            <p:nvPr/>
          </p:nvSpPr>
          <p:spPr bwMode="gray">
            <a:xfrm>
              <a:off x="5958724" y="3922293"/>
              <a:ext cx="187184" cy="187184"/>
            </a:xfrm>
            <a:prstGeom prst="rect">
              <a:avLst/>
            </a:prstGeom>
            <a:solidFill>
              <a:srgbClr val="027123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85" name="Rectangle 184">
              <a:extLst>
                <a:ext uri="{FF2B5EF4-FFF2-40B4-BE49-F238E27FC236}">
                  <a16:creationId xmlns:a16="http://schemas.microsoft.com/office/drawing/2014/main" id="{E34F6D7E-6CD3-7B49-9F1D-6D78AACEFF91}"/>
                </a:ext>
              </a:extLst>
            </p:cNvPr>
            <p:cNvSpPr/>
            <p:nvPr/>
          </p:nvSpPr>
          <p:spPr bwMode="gray">
            <a:xfrm>
              <a:off x="6180244" y="3922293"/>
              <a:ext cx="187184" cy="187184"/>
            </a:xfrm>
            <a:prstGeom prst="rect">
              <a:avLst/>
            </a:prstGeom>
            <a:solidFill>
              <a:srgbClr val="80B891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86" name="Rectangle 185">
              <a:extLst>
                <a:ext uri="{FF2B5EF4-FFF2-40B4-BE49-F238E27FC236}">
                  <a16:creationId xmlns:a16="http://schemas.microsoft.com/office/drawing/2014/main" id="{BF821065-02C2-EF4B-9F9C-E2A91FD8F316}"/>
                </a:ext>
              </a:extLst>
            </p:cNvPr>
            <p:cNvSpPr/>
            <p:nvPr/>
          </p:nvSpPr>
          <p:spPr bwMode="gray">
            <a:xfrm>
              <a:off x="6180244" y="3700925"/>
              <a:ext cx="187184" cy="187184"/>
            </a:xfrm>
            <a:prstGeom prst="rect">
              <a:avLst/>
            </a:prstGeom>
            <a:solidFill>
              <a:srgbClr val="A1D794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87" name="Rectangle 186">
              <a:extLst>
                <a:ext uri="{FF2B5EF4-FFF2-40B4-BE49-F238E27FC236}">
                  <a16:creationId xmlns:a16="http://schemas.microsoft.com/office/drawing/2014/main" id="{C91976CC-682F-9849-BB70-F87EC81993D2}"/>
                </a:ext>
              </a:extLst>
            </p:cNvPr>
            <p:cNvSpPr/>
            <p:nvPr/>
          </p:nvSpPr>
          <p:spPr bwMode="gray">
            <a:xfrm>
              <a:off x="6401763" y="3922293"/>
              <a:ext cx="187184" cy="187184"/>
            </a:xfrm>
            <a:prstGeom prst="rect">
              <a:avLst/>
            </a:prstGeom>
            <a:solidFill>
              <a:srgbClr val="41955A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88" name="Rectangle 187">
              <a:extLst>
                <a:ext uri="{FF2B5EF4-FFF2-40B4-BE49-F238E27FC236}">
                  <a16:creationId xmlns:a16="http://schemas.microsoft.com/office/drawing/2014/main" id="{D79483A8-0232-0548-BBDE-CAC5A5717E5B}"/>
                </a:ext>
              </a:extLst>
            </p:cNvPr>
            <p:cNvSpPr/>
            <p:nvPr/>
          </p:nvSpPr>
          <p:spPr bwMode="gray">
            <a:xfrm>
              <a:off x="6401763" y="3700925"/>
              <a:ext cx="187184" cy="187184"/>
            </a:xfrm>
            <a:prstGeom prst="rect">
              <a:avLst/>
            </a:prstGeom>
            <a:solidFill>
              <a:srgbClr val="72C45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89" name="Rectangle 188">
              <a:extLst>
                <a:ext uri="{FF2B5EF4-FFF2-40B4-BE49-F238E27FC236}">
                  <a16:creationId xmlns:a16="http://schemas.microsoft.com/office/drawing/2014/main" id="{6B89722E-49F3-144D-AC2D-0950AC3ACF7F}"/>
                </a:ext>
              </a:extLst>
            </p:cNvPr>
            <p:cNvSpPr/>
            <p:nvPr/>
          </p:nvSpPr>
          <p:spPr bwMode="gray">
            <a:xfrm>
              <a:off x="6623283" y="3922293"/>
              <a:ext cx="187184" cy="187184"/>
            </a:xfrm>
            <a:prstGeom prst="rect">
              <a:avLst/>
            </a:prstGeom>
            <a:solidFill>
              <a:srgbClr val="C0DCC8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90" name="Rectangle 189">
              <a:extLst>
                <a:ext uri="{FF2B5EF4-FFF2-40B4-BE49-F238E27FC236}">
                  <a16:creationId xmlns:a16="http://schemas.microsoft.com/office/drawing/2014/main" id="{ACF64A98-8F5F-364E-9BF7-4F76EBB2E875}"/>
                </a:ext>
              </a:extLst>
            </p:cNvPr>
            <p:cNvSpPr/>
            <p:nvPr/>
          </p:nvSpPr>
          <p:spPr bwMode="gray">
            <a:xfrm>
              <a:off x="6623283" y="3700925"/>
              <a:ext cx="187184" cy="187184"/>
            </a:xfrm>
            <a:prstGeom prst="rect">
              <a:avLst/>
            </a:prstGeom>
            <a:solidFill>
              <a:srgbClr val="D0EBCA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91" name="Rectangle 190">
              <a:extLst>
                <a:ext uri="{FF2B5EF4-FFF2-40B4-BE49-F238E27FC236}">
                  <a16:creationId xmlns:a16="http://schemas.microsoft.com/office/drawing/2014/main" id="{68D56737-D7FA-9241-BF90-CDAA19D3F175}"/>
                </a:ext>
              </a:extLst>
            </p:cNvPr>
            <p:cNvSpPr/>
            <p:nvPr/>
          </p:nvSpPr>
          <p:spPr bwMode="gray">
            <a:xfrm>
              <a:off x="5958724" y="2792710"/>
              <a:ext cx="187184" cy="187184"/>
            </a:xfrm>
            <a:prstGeom prst="rect">
              <a:avLst/>
            </a:prstGeom>
            <a:solidFill>
              <a:srgbClr val="00CCF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92" name="TextBox 191">
              <a:extLst>
                <a:ext uri="{FF2B5EF4-FFF2-40B4-BE49-F238E27FC236}">
                  <a16:creationId xmlns:a16="http://schemas.microsoft.com/office/drawing/2014/main" id="{03825342-AAFF-0E4E-A60C-2B8AB690F64E}"/>
                </a:ext>
              </a:extLst>
            </p:cNvPr>
            <p:cNvSpPr txBox="1"/>
            <p:nvPr/>
          </p:nvSpPr>
          <p:spPr>
            <a:xfrm>
              <a:off x="6179531" y="2792515"/>
              <a:ext cx="630936" cy="184666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r>
                <a:rPr lang="en-US" sz="600">
                  <a:solidFill>
                    <a:schemeClr val="tx1"/>
                  </a:solidFill>
                </a:rPr>
                <a:t>Bright Blue</a:t>
              </a:r>
            </a:p>
          </p:txBody>
        </p:sp>
        <p:sp>
          <p:nvSpPr>
            <p:cNvPr id="193" name="TextBox 192">
              <a:extLst>
                <a:ext uri="{FF2B5EF4-FFF2-40B4-BE49-F238E27FC236}">
                  <a16:creationId xmlns:a16="http://schemas.microsoft.com/office/drawing/2014/main" id="{463016A2-866B-6740-A2DD-BA0BFCC950F7}"/>
                </a:ext>
              </a:extLst>
            </p:cNvPr>
            <p:cNvSpPr txBox="1"/>
            <p:nvPr/>
          </p:nvSpPr>
          <p:spPr>
            <a:xfrm>
              <a:off x="6180244" y="5875802"/>
              <a:ext cx="630223" cy="184666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r>
                <a:rPr lang="en-US" sz="600"/>
                <a:t>5% Charcoal</a:t>
              </a:r>
              <a:endParaRPr lang="en-US" sz="600">
                <a:solidFill>
                  <a:schemeClr val="tx1"/>
                </a:solidFill>
              </a:endParaRPr>
            </a:p>
          </p:txBody>
        </p:sp>
        <p:sp>
          <p:nvSpPr>
            <p:cNvPr id="194" name="Rectangle 193">
              <a:extLst>
                <a:ext uri="{FF2B5EF4-FFF2-40B4-BE49-F238E27FC236}">
                  <a16:creationId xmlns:a16="http://schemas.microsoft.com/office/drawing/2014/main" id="{FFE6951A-1135-BF4C-8E4A-27E4A4579C3B}"/>
                </a:ext>
              </a:extLst>
            </p:cNvPr>
            <p:cNvSpPr/>
            <p:nvPr/>
          </p:nvSpPr>
          <p:spPr bwMode="gray">
            <a:xfrm>
              <a:off x="5958724" y="5662447"/>
              <a:ext cx="187184" cy="187184"/>
            </a:xfrm>
            <a:prstGeom prst="rect">
              <a:avLst/>
            </a:prstGeom>
            <a:solidFill>
              <a:srgbClr val="140B4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700"/>
            </a:p>
          </p:txBody>
        </p:sp>
        <p:sp>
          <p:nvSpPr>
            <p:cNvPr id="195" name="TextBox 194">
              <a:extLst>
                <a:ext uri="{FF2B5EF4-FFF2-40B4-BE49-F238E27FC236}">
                  <a16:creationId xmlns:a16="http://schemas.microsoft.com/office/drawing/2014/main" id="{72B3BE3E-8803-DD42-B96E-2D6A35B5C8FE}"/>
                </a:ext>
              </a:extLst>
            </p:cNvPr>
            <p:cNvSpPr txBox="1"/>
            <p:nvPr/>
          </p:nvSpPr>
          <p:spPr>
            <a:xfrm>
              <a:off x="6180244" y="5662777"/>
              <a:ext cx="630223" cy="184666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r>
                <a:rPr lang="en-US" sz="600"/>
                <a:t>Indigo</a:t>
              </a:r>
              <a:endParaRPr lang="en-US" sz="600">
                <a:solidFill>
                  <a:schemeClr val="tx1"/>
                </a:solidFill>
              </a:endParaRPr>
            </a:p>
          </p:txBody>
        </p:sp>
        <p:sp>
          <p:nvSpPr>
            <p:cNvPr id="196" name="TextBox 195">
              <a:extLst>
                <a:ext uri="{FF2B5EF4-FFF2-40B4-BE49-F238E27FC236}">
                  <a16:creationId xmlns:a16="http://schemas.microsoft.com/office/drawing/2014/main" id="{1307F021-E250-BC44-A156-97E93EFBD041}"/>
                </a:ext>
              </a:extLst>
            </p:cNvPr>
            <p:cNvSpPr txBox="1"/>
            <p:nvPr/>
          </p:nvSpPr>
          <p:spPr>
            <a:xfrm>
              <a:off x="6180244" y="5451924"/>
              <a:ext cx="630223" cy="184666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r>
                <a:rPr lang="en-US" sz="600">
                  <a:solidFill>
                    <a:schemeClr val="tx1"/>
                  </a:solidFill>
                </a:rPr>
                <a:t>Red</a:t>
              </a:r>
            </a:p>
          </p:txBody>
        </p:sp>
        <p:sp>
          <p:nvSpPr>
            <p:cNvPr id="197" name="Rectangle 196">
              <a:extLst>
                <a:ext uri="{FF2B5EF4-FFF2-40B4-BE49-F238E27FC236}">
                  <a16:creationId xmlns:a16="http://schemas.microsoft.com/office/drawing/2014/main" id="{D6E8F370-88B7-B143-BECC-56B2696E26F2}"/>
                </a:ext>
              </a:extLst>
            </p:cNvPr>
            <p:cNvSpPr/>
            <p:nvPr/>
          </p:nvSpPr>
          <p:spPr bwMode="gray">
            <a:xfrm>
              <a:off x="6180244" y="3246253"/>
              <a:ext cx="187184" cy="187184"/>
            </a:xfrm>
            <a:prstGeom prst="rect">
              <a:avLst/>
            </a:prstGeom>
            <a:solidFill>
              <a:srgbClr val="80C7C3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98" name="Rectangle 197">
              <a:extLst>
                <a:ext uri="{FF2B5EF4-FFF2-40B4-BE49-F238E27FC236}">
                  <a16:creationId xmlns:a16="http://schemas.microsoft.com/office/drawing/2014/main" id="{6777473D-86CB-DC41-A591-538A0820099A}"/>
                </a:ext>
              </a:extLst>
            </p:cNvPr>
            <p:cNvSpPr/>
            <p:nvPr/>
          </p:nvSpPr>
          <p:spPr bwMode="gray">
            <a:xfrm>
              <a:off x="6401763" y="3246253"/>
              <a:ext cx="187184" cy="187184"/>
            </a:xfrm>
            <a:prstGeom prst="rect">
              <a:avLst/>
            </a:prstGeom>
            <a:solidFill>
              <a:srgbClr val="40A497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99" name="Rectangle 198">
              <a:extLst>
                <a:ext uri="{FF2B5EF4-FFF2-40B4-BE49-F238E27FC236}">
                  <a16:creationId xmlns:a16="http://schemas.microsoft.com/office/drawing/2014/main" id="{989B0485-B1FD-0E46-998C-70BF14846660}"/>
                </a:ext>
              </a:extLst>
            </p:cNvPr>
            <p:cNvSpPr/>
            <p:nvPr/>
          </p:nvSpPr>
          <p:spPr bwMode="gray">
            <a:xfrm>
              <a:off x="6623283" y="3246253"/>
              <a:ext cx="187184" cy="187184"/>
            </a:xfrm>
            <a:prstGeom prst="rect">
              <a:avLst/>
            </a:prstGeom>
            <a:solidFill>
              <a:srgbClr val="CCE9E7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00" name="Rectangle 199">
              <a:extLst>
                <a:ext uri="{FF2B5EF4-FFF2-40B4-BE49-F238E27FC236}">
                  <a16:creationId xmlns:a16="http://schemas.microsoft.com/office/drawing/2014/main" id="{C3488BCE-878D-4A43-AA90-4912A715E8BD}"/>
                </a:ext>
              </a:extLst>
            </p:cNvPr>
            <p:cNvSpPr/>
            <p:nvPr/>
          </p:nvSpPr>
          <p:spPr bwMode="gray">
            <a:xfrm>
              <a:off x="5958724" y="3249161"/>
              <a:ext cx="187184" cy="187184"/>
            </a:xfrm>
            <a:prstGeom prst="rect">
              <a:avLst/>
            </a:prstGeom>
            <a:solidFill>
              <a:srgbClr val="008675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01" name="Rectangle 200">
              <a:extLst>
                <a:ext uri="{FF2B5EF4-FFF2-40B4-BE49-F238E27FC236}">
                  <a16:creationId xmlns:a16="http://schemas.microsoft.com/office/drawing/2014/main" id="{7AB8F119-F5FE-2149-92FB-75F8830718E6}"/>
                </a:ext>
              </a:extLst>
            </p:cNvPr>
            <p:cNvSpPr/>
            <p:nvPr/>
          </p:nvSpPr>
          <p:spPr bwMode="gray">
            <a:xfrm>
              <a:off x="5958724" y="3472953"/>
              <a:ext cx="187184" cy="187184"/>
            </a:xfrm>
            <a:prstGeom prst="rect">
              <a:avLst/>
            </a:prstGeom>
            <a:solidFill>
              <a:srgbClr val="0CEFC3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02" name="TextBox 201">
              <a:extLst>
                <a:ext uri="{FF2B5EF4-FFF2-40B4-BE49-F238E27FC236}">
                  <a16:creationId xmlns:a16="http://schemas.microsoft.com/office/drawing/2014/main" id="{D4276137-38CE-CE41-8278-45DD99244B1A}"/>
                </a:ext>
              </a:extLst>
            </p:cNvPr>
            <p:cNvSpPr txBox="1"/>
            <p:nvPr/>
          </p:nvSpPr>
          <p:spPr>
            <a:xfrm>
              <a:off x="6179531" y="3472758"/>
              <a:ext cx="630936" cy="184666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r>
                <a:rPr lang="en-US" sz="600">
                  <a:solidFill>
                    <a:schemeClr val="tx1"/>
                  </a:solidFill>
                </a:rPr>
                <a:t>Bright Teal</a:t>
              </a:r>
            </a:p>
          </p:txBody>
        </p:sp>
        <p:sp>
          <p:nvSpPr>
            <p:cNvPr id="203" name="Rectangle 202">
              <a:extLst>
                <a:ext uri="{FF2B5EF4-FFF2-40B4-BE49-F238E27FC236}">
                  <a16:creationId xmlns:a16="http://schemas.microsoft.com/office/drawing/2014/main" id="{32FDF16C-E3D9-5A43-B4BA-A2D0BD2547E2}"/>
                </a:ext>
              </a:extLst>
            </p:cNvPr>
            <p:cNvSpPr/>
            <p:nvPr/>
          </p:nvSpPr>
          <p:spPr bwMode="gray">
            <a:xfrm>
              <a:off x="5958724" y="4147323"/>
              <a:ext cx="187184" cy="187184"/>
            </a:xfrm>
            <a:prstGeom prst="rect">
              <a:avLst/>
            </a:prstGeom>
            <a:solidFill>
              <a:srgbClr val="79D853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04" name="TextBox 203">
              <a:extLst>
                <a:ext uri="{FF2B5EF4-FFF2-40B4-BE49-F238E27FC236}">
                  <a16:creationId xmlns:a16="http://schemas.microsoft.com/office/drawing/2014/main" id="{2AF546EF-4A91-2643-AD8A-13B35443E7F5}"/>
                </a:ext>
              </a:extLst>
            </p:cNvPr>
            <p:cNvSpPr txBox="1"/>
            <p:nvPr/>
          </p:nvSpPr>
          <p:spPr>
            <a:xfrm>
              <a:off x="6179531" y="4147128"/>
              <a:ext cx="630936" cy="184666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r>
                <a:rPr lang="en-US" sz="600">
                  <a:solidFill>
                    <a:schemeClr val="tx1"/>
                  </a:solidFill>
                </a:rPr>
                <a:t>Bright Green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98743607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73" r:id="rId1"/>
    <p:sldLayoutId id="2147484274" r:id="rId2"/>
    <p:sldLayoutId id="2147484275" r:id="rId3"/>
    <p:sldLayoutId id="2147484276" r:id="rId4"/>
    <p:sldLayoutId id="2147484279" r:id="rId5"/>
    <p:sldLayoutId id="2147484280" r:id="rId6"/>
    <p:sldLayoutId id="2147484288" r:id="rId7"/>
    <p:sldLayoutId id="2147484289" r:id="rId8"/>
    <p:sldLayoutId id="2147484290" r:id="rId9"/>
    <p:sldLayoutId id="2147484291" r:id="rId10"/>
    <p:sldLayoutId id="2147484240" r:id="rId11"/>
    <p:sldLayoutId id="2147484241" r:id="rId12"/>
    <p:sldLayoutId id="2147484242" r:id="rId13"/>
    <p:sldLayoutId id="2147484243" r:id="rId14"/>
    <p:sldLayoutId id="2147484244" r:id="rId15"/>
    <p:sldLayoutId id="2147484245" r:id="rId16"/>
    <p:sldLayoutId id="2147484246" r:id="rId17"/>
    <p:sldLayoutId id="2147484247" r:id="rId18"/>
    <p:sldLayoutId id="2147484248" r:id="rId19"/>
    <p:sldLayoutId id="2147484249" r:id="rId20"/>
    <p:sldLayoutId id="2147484250" r:id="rId21"/>
    <p:sldLayoutId id="2147484251" r:id="rId22"/>
    <p:sldLayoutId id="2147484252" r:id="rId23"/>
    <p:sldLayoutId id="2147484253" r:id="rId24"/>
    <p:sldLayoutId id="2147484254" r:id="rId25"/>
    <p:sldLayoutId id="2147484255" r:id="rId26"/>
    <p:sldLayoutId id="2147484256" r:id="rId27"/>
    <p:sldLayoutId id="2147484281" r:id="rId28"/>
    <p:sldLayoutId id="2147484282" r:id="rId29"/>
    <p:sldLayoutId id="2147484283" r:id="rId30"/>
    <p:sldLayoutId id="2147484284" r:id="rId31"/>
    <p:sldLayoutId id="2147484285" r:id="rId32"/>
    <p:sldLayoutId id="2147484286" r:id="rId33"/>
    <p:sldLayoutId id="2147484287" r:id="rId34"/>
    <p:sldLayoutId id="2147484292" r:id="rId35"/>
  </p:sldLayoutIdLst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19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5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22.png"/><Relationship Id="rId4" Type="http://schemas.openxmlformats.org/officeDocument/2006/relationships/image" Target="../media/image21.png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5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5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hyperlink" Target="https://quintiles.service-now.com/via?id=sc_cat_item&amp;sys_id=b0b41de3dbe8e700e50254a8dc9619e3" TargetMode="External"/><Relationship Id="rId2" Type="http://schemas.openxmlformats.org/officeDocument/2006/relationships/hyperlink" Target="https://app.smartsheet.com/b/form/9537ceb2a72342fd865048c01f9d3691?elqTrackId=395dceb19ea54ae3af99154ad33425d2&amp;elqaid=1251&amp;elqat=2&amp;elqak=8AF5F489EF834B8518B081F300A3961BD368B8C8828DA6D1F07B96645A33F9BAFF00" TargetMode="External"/><Relationship Id="rId1" Type="http://schemas.openxmlformats.org/officeDocument/2006/relationships/slideLayout" Target="../slideLayouts/slideLayout15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hyperlink" Target="mailto:https://brandworld.iqvia.com/guidelines/guide/4fee2569-1428-40e5-a251-cac83f52d6d9/page/18ce7658-c5a8-47ed-b241-e0a52e56fefe" TargetMode="External"/><Relationship Id="rId2" Type="http://schemas.openxmlformats.org/officeDocument/2006/relationships/hyperlink" Target="mailto:https://brandworld.iqvia.com/guidelines/guide/4fee2569-1428-40e5-a251-cac83f52d6d9/page/2454ab2c-2dcf-4b3a-af98-82e19a6305c0" TargetMode="External"/><Relationship Id="rId1" Type="http://schemas.openxmlformats.org/officeDocument/2006/relationships/slideLayout" Target="../slideLayouts/slideLayout16.xml"/><Relationship Id="rId4" Type="http://schemas.openxmlformats.org/officeDocument/2006/relationships/hyperlink" Target="https://app.smartsheet.com/b/publish?EQBCT=38593afd807b46b9b8decb3fcd40bb68" TargetMode="Externa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hyperlink" Target="mailto:edie.eichert@iqvia.com" TargetMode="External"/><Relationship Id="rId1" Type="http://schemas.openxmlformats.org/officeDocument/2006/relationships/slideLayout" Target="../slideLayouts/slideLayout16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0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hyperlink" Target="https://app.smartsheet.com/b/form/aafcab4fbe5b46c5b5b7d4101cce2506?elqTrackId=87830d6fdf07406395abe5b12aa3f751&amp;elqaid=1251&amp;elqat=2&amp;elqak=8AF5895905681225C1A4AF3E6C379BBF7786450B86CC6A36FF36E3F37555A59588E9" TargetMode="External"/><Relationship Id="rId2" Type="http://schemas.openxmlformats.org/officeDocument/2006/relationships/hyperlink" Target="mailto:marketing.automation@iqvia.com?subject=I%20have%20a%20question%20for%20the%20MA%20Open%20Office%20Hours" TargetMode="External"/><Relationship Id="rId1" Type="http://schemas.openxmlformats.org/officeDocument/2006/relationships/slideLayout" Target="../slideLayouts/slideLayout11.xml"/><Relationship Id="rId4" Type="http://schemas.openxmlformats.org/officeDocument/2006/relationships/image" Target="../media/image16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8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hyperlink" Target="https://octopus.do/quem0hj2r1r" TargetMode="Externa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9.xml"/><Relationship Id="rId4" Type="http://schemas.openxmlformats.org/officeDocument/2006/relationships/image" Target="../media/image17.png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9014ADC4-BD15-2F2B-741A-EDFCCB5EC00A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lIns="91440" tIns="45720" rIns="91440" bIns="45720" anchor="b" anchorCtr="0"/>
          <a:lstStyle/>
          <a:p>
            <a:r>
              <a:rPr lang="en-US"/>
              <a:t>Welcome to Marketing Operations Open Office Hours – August Session</a:t>
            </a:r>
          </a:p>
        </p:txBody>
      </p:sp>
    </p:spTree>
    <p:extLst>
      <p:ext uri="{BB962C8B-B14F-4D97-AF65-F5344CB8AC3E}">
        <p14:creationId xmlns:p14="http://schemas.microsoft.com/office/powerpoint/2010/main" val="112607671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EDE57BC-20BC-6165-5CD3-354FB7CB1F6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/>
              <a:t>Phase III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817C43E-A9C8-81D3-1F55-05429619D7A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Transferred site map from Octopus to Excel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13D831EA-8B3B-DC4F-8F33-6A5A394903B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62181" y="1590636"/>
            <a:ext cx="10467638" cy="48223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8785518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204BB570-E3B2-8421-97E8-734977141E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9468" y="2601156"/>
            <a:ext cx="7366570" cy="573001"/>
          </a:xfrm>
        </p:spPr>
        <p:txBody>
          <a:bodyPr lIns="91440" tIns="45720" rIns="91440" bIns="45720" anchor="t" anchorCtr="0"/>
          <a:lstStyle/>
          <a:p>
            <a:r>
              <a:rPr lang="en-US"/>
              <a:t>The packet </a:t>
            </a:r>
          </a:p>
        </p:txBody>
      </p:sp>
    </p:spTree>
    <p:extLst>
      <p:ext uri="{BB962C8B-B14F-4D97-AF65-F5344CB8AC3E}">
        <p14:creationId xmlns:p14="http://schemas.microsoft.com/office/powerpoint/2010/main" val="381362605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Content Placeholder 3" descr="A screenshot of a computer&#10;&#10;Description automatically generated">
            <a:extLst>
              <a:ext uri="{FF2B5EF4-FFF2-40B4-BE49-F238E27FC236}">
                <a16:creationId xmlns:a16="http://schemas.microsoft.com/office/drawing/2014/main" id="{E39F7DD0-8268-8BFE-90C8-B40852682493}"/>
              </a:ext>
            </a:extLst>
          </p:cNvPr>
          <p:cNvPicPr>
            <a:picLocks noGrp="1" noChangeAspect="1"/>
          </p:cNvPicPr>
          <p:nvPr>
            <p:ph idx="17"/>
          </p:nvPr>
        </p:nvPicPr>
        <p:blipFill>
          <a:blip r:embed="rId2"/>
          <a:stretch>
            <a:fillRect/>
          </a:stretch>
        </p:blipFill>
        <p:spPr>
          <a:xfrm>
            <a:off x="490443" y="1661055"/>
            <a:ext cx="3612810" cy="2068513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2D86CB65-A902-4D75-4EBA-10C3FECD03E6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 lIns="91440" tIns="45720" rIns="91440" bIns="45720" anchor="t"/>
          <a:lstStyle/>
          <a:p>
            <a:r>
              <a:rPr lang="en-US">
                <a:cs typeface="Arial"/>
              </a:rPr>
              <a:t>Ticket information, proposed wireframe and SEO, UX &amp; content recommendations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354E68A5-F814-F8F9-A338-56FB857EE94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lIns="91440" tIns="45720" rIns="91440" bIns="45720" anchor="b" anchorCtr="0"/>
          <a:lstStyle/>
          <a:p>
            <a:r>
              <a:rPr lang="en-US">
                <a:cs typeface="Arial"/>
              </a:rPr>
              <a:t>The packet: What is included </a:t>
            </a:r>
            <a:endParaRPr lang="en-US"/>
          </a:p>
        </p:txBody>
      </p:sp>
      <p:pic>
        <p:nvPicPr>
          <p:cNvPr id="5" name="Picture 4" descr="A screenshot of a web page&#10;&#10;Description automatically generated">
            <a:extLst>
              <a:ext uri="{FF2B5EF4-FFF2-40B4-BE49-F238E27FC236}">
                <a16:creationId xmlns:a16="http://schemas.microsoft.com/office/drawing/2014/main" id="{93261E08-224F-2FEE-0ADA-C3D9692CB1F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423831" y="1689099"/>
            <a:ext cx="3704170" cy="2019302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6" name="Picture 5" descr="A screenshot of a webpage&#10;&#10;Description automatically generated">
            <a:extLst>
              <a:ext uri="{FF2B5EF4-FFF2-40B4-BE49-F238E27FC236}">
                <a16:creationId xmlns:a16="http://schemas.microsoft.com/office/drawing/2014/main" id="{11061BF1-0464-98C3-2A8D-1D50FFA38C7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91594" y="3957106"/>
            <a:ext cx="3609977" cy="2065869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7" name="Picture 6" descr="A screenshot of a white and blue website&#10;&#10;Description automatically generated">
            <a:extLst>
              <a:ext uri="{FF2B5EF4-FFF2-40B4-BE49-F238E27FC236}">
                <a16:creationId xmlns:a16="http://schemas.microsoft.com/office/drawing/2014/main" id="{10D033F9-F7C5-0487-F31C-9F665E617A9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423831" y="4004733"/>
            <a:ext cx="3704169" cy="2002368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D137920C-F554-970E-E0F1-0B855867F12E}"/>
              </a:ext>
            </a:extLst>
          </p:cNvPr>
          <p:cNvSpPr txBox="1"/>
          <p:nvPr/>
        </p:nvSpPr>
        <p:spPr>
          <a:xfrm>
            <a:off x="8311611" y="1717414"/>
            <a:ext cx="3614737" cy="4431983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txBody>
          <a:bodyPr wrap="square" lIns="91440" tIns="45720" rIns="91440" bIns="45720" rtlCol="0" anchor="t">
            <a:spAutoFit/>
          </a:bodyPr>
          <a:lstStyle/>
          <a:p>
            <a:pPr>
              <a:spcBef>
                <a:spcPts val="600"/>
              </a:spcBef>
            </a:pPr>
            <a:r>
              <a:rPr lang="en-US" sz="1300" b="1">
                <a:cs typeface="Arial"/>
              </a:rPr>
              <a:t>Tips to consider</a:t>
            </a:r>
            <a:endParaRPr lang="en-US" sz="1300">
              <a:cs typeface="Arial" panose="020B0604020202020204"/>
            </a:endParaRPr>
          </a:p>
          <a:p>
            <a:pPr>
              <a:spcBef>
                <a:spcPts val="600"/>
              </a:spcBef>
            </a:pPr>
            <a:endParaRPr lang="en-US" sz="800" b="1">
              <a:cs typeface="Arial" panose="020B0604020202020204"/>
            </a:endParaRPr>
          </a:p>
          <a:p>
            <a:pPr>
              <a:spcBef>
                <a:spcPts val="600"/>
              </a:spcBef>
            </a:pPr>
            <a:r>
              <a:rPr lang="en-US" sz="1300">
                <a:cs typeface="Arial" panose="020B0604020202020204"/>
              </a:rPr>
              <a:t>Headlines and Subheads: 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300">
                <a:cs typeface="Arial" panose="020B0604020202020204"/>
              </a:rPr>
              <a:t>Ensure headlines and subheads are clear, compelling, and accurately reflect the content. Use concise and action-oriented language. Incorporate relevant keywords naturally.</a:t>
            </a:r>
          </a:p>
          <a:p>
            <a:pPr>
              <a:spcBef>
                <a:spcPts val="600"/>
              </a:spcBef>
            </a:pPr>
            <a:endParaRPr lang="en-US" sz="800">
              <a:cs typeface="Arial"/>
            </a:endParaRPr>
          </a:p>
          <a:p>
            <a:pPr>
              <a:spcBef>
                <a:spcPts val="600"/>
              </a:spcBef>
            </a:pPr>
            <a:r>
              <a:rPr lang="en-US" sz="1300">
                <a:cs typeface="Arial"/>
              </a:rPr>
              <a:t>Body Copy: 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300">
                <a:cs typeface="Arial"/>
              </a:rPr>
              <a:t>Improve readability by using short paragraphs, bullet points, and lists. Ensure content is up-to-date, relevant, and valuable to the target audience. Remove jargon and overly complex language. </a:t>
            </a:r>
          </a:p>
          <a:p>
            <a:pPr>
              <a:spcBef>
                <a:spcPts val="600"/>
              </a:spcBef>
            </a:pPr>
            <a:endParaRPr lang="en-US" sz="800">
              <a:cs typeface="Arial"/>
            </a:endParaRPr>
          </a:p>
          <a:p>
            <a:pPr>
              <a:spcBef>
                <a:spcPts val="600"/>
              </a:spcBef>
            </a:pPr>
            <a:r>
              <a:rPr lang="en-US" sz="1300">
                <a:cs typeface="Arial"/>
              </a:rPr>
              <a:t>Structure:</a:t>
            </a:r>
            <a:endParaRPr lang="en-US"/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300">
                <a:cs typeface="Arial"/>
              </a:rPr>
              <a:t>Evaluate the proposed site architecture </a:t>
            </a:r>
            <a:endParaRPr lang="en-US" sz="1300"/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300">
                <a:cs typeface="Arial"/>
              </a:rPr>
              <a:t>Identify key sections and pages</a:t>
            </a:r>
            <a:endParaRPr lang="en-US" sz="1300"/>
          </a:p>
        </p:txBody>
      </p:sp>
    </p:spTree>
    <p:extLst>
      <p:ext uri="{BB962C8B-B14F-4D97-AF65-F5344CB8AC3E}">
        <p14:creationId xmlns:p14="http://schemas.microsoft.com/office/powerpoint/2010/main" val="176816188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BE9636E-11A5-C01A-B7F2-A862CC77815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7DA5674-D353-FD54-65FC-82BBC3D5B30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onsistent jump bar heading and page structure across CS site</a:t>
            </a: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99246E7A-6854-E8BE-0EA5-14D8B1D78225}"/>
              </a:ext>
            </a:extLst>
          </p:cNvPr>
          <p:cNvSpPr/>
          <p:nvPr/>
        </p:nvSpPr>
        <p:spPr>
          <a:xfrm flipH="1">
            <a:off x="384694" y="1523234"/>
            <a:ext cx="11313124" cy="479257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err="1">
              <a:solidFill>
                <a:srgbClr val="ED49DD"/>
              </a:solidFill>
              <a:latin typeface="+mj-lt"/>
              <a:cs typeface="Segoe UI" panose="020B0502040204020203" pitchFamily="34" charset="0"/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D1E92E92-C3A6-8EE7-E211-AEEACD6C5DAD}"/>
              </a:ext>
            </a:extLst>
          </p:cNvPr>
          <p:cNvSpPr txBox="1"/>
          <p:nvPr/>
        </p:nvSpPr>
        <p:spPr>
          <a:xfrm>
            <a:off x="2342855" y="1666146"/>
            <a:ext cx="1169177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>
                <a:solidFill>
                  <a:schemeClr val="bg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Overview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E8074561-FAB8-5ED0-A0F4-1315168727C6}"/>
              </a:ext>
            </a:extLst>
          </p:cNvPr>
          <p:cNvSpPr txBox="1"/>
          <p:nvPr/>
        </p:nvSpPr>
        <p:spPr>
          <a:xfrm>
            <a:off x="5577522" y="1651444"/>
            <a:ext cx="1169177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>
                <a:solidFill>
                  <a:schemeClr val="bg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Benefits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37E3E985-2212-0556-3B6B-3A072E491409}"/>
              </a:ext>
            </a:extLst>
          </p:cNvPr>
          <p:cNvSpPr txBox="1"/>
          <p:nvPr/>
        </p:nvSpPr>
        <p:spPr>
          <a:xfrm>
            <a:off x="3790220" y="1558130"/>
            <a:ext cx="157284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>
                <a:solidFill>
                  <a:schemeClr val="bg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Offerings / Products / Services 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23EF504B-F618-D3DC-5D3A-01144A85F6E3}"/>
              </a:ext>
            </a:extLst>
          </p:cNvPr>
          <p:cNvSpPr txBox="1"/>
          <p:nvPr/>
        </p:nvSpPr>
        <p:spPr>
          <a:xfrm>
            <a:off x="6814196" y="1574499"/>
            <a:ext cx="153036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>
                <a:solidFill>
                  <a:schemeClr val="bg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Featured Customer Story</a:t>
            </a: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B80B784D-4EDA-1E6C-6CAD-AD06CDD5650B}"/>
              </a:ext>
            </a:extLst>
          </p:cNvPr>
          <p:cNvSpPr/>
          <p:nvPr/>
        </p:nvSpPr>
        <p:spPr>
          <a:xfrm flipV="1">
            <a:off x="2606509" y="1993341"/>
            <a:ext cx="656948" cy="4571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err="1"/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CDAB0C2A-BF9C-0200-B65B-0022DD50D272}"/>
              </a:ext>
            </a:extLst>
          </p:cNvPr>
          <p:cNvSpPr txBox="1"/>
          <p:nvPr/>
        </p:nvSpPr>
        <p:spPr>
          <a:xfrm>
            <a:off x="8443871" y="1639751"/>
            <a:ext cx="1169177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>
                <a:solidFill>
                  <a:schemeClr val="bg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Latest Thinking</a:t>
            </a: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65B17769-001F-1801-17AF-E53B11578E48}"/>
              </a:ext>
            </a:extLst>
          </p:cNvPr>
          <p:cNvSpPr txBox="1"/>
          <p:nvPr/>
        </p:nvSpPr>
        <p:spPr>
          <a:xfrm>
            <a:off x="9977801" y="1645140"/>
            <a:ext cx="1169177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>
                <a:solidFill>
                  <a:schemeClr val="bg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Explore Related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FD24FE03-8059-2E69-2811-388CDC633952}"/>
              </a:ext>
            </a:extLst>
          </p:cNvPr>
          <p:cNvSpPr txBox="1"/>
          <p:nvPr/>
        </p:nvSpPr>
        <p:spPr>
          <a:xfrm>
            <a:off x="452424" y="3507799"/>
            <a:ext cx="385571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/>
              <a:t>Child Pages of Pillar Pages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C7F57BCA-D7F8-7312-FA1F-4092F9FEAC5B}"/>
              </a:ext>
            </a:extLst>
          </p:cNvPr>
          <p:cNvSpPr txBox="1"/>
          <p:nvPr/>
        </p:nvSpPr>
        <p:spPr>
          <a:xfrm>
            <a:off x="5498718" y="2034099"/>
            <a:ext cx="1276246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Top </a:t>
            </a:r>
            <a:r>
              <a:rPr lang="en-US" sz="1000" b="1">
                <a:solidFill>
                  <a:schemeClr val="accent6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3-5</a:t>
            </a:r>
            <a:r>
              <a:rPr lang="en-US" sz="1000"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 Business Benefits / Differentiators of Category, Overall</a:t>
            </a:r>
          </a:p>
          <a:p>
            <a:pPr algn="ctr"/>
            <a:endParaRPr lang="en-US" sz="1000">
              <a:latin typeface="Noto Sans" panose="020B0502040504020204" pitchFamily="34" charset="0"/>
              <a:ea typeface="Noto Sans" panose="020B0502040504020204" pitchFamily="34" charset="0"/>
              <a:cs typeface="Noto Sans" panose="020B0502040504020204" pitchFamily="34" charset="0"/>
            </a:endParaRPr>
          </a:p>
          <a:p>
            <a:pPr algn="ctr"/>
            <a:endParaRPr lang="en-US" sz="1000">
              <a:latin typeface="Noto Sans" panose="020B0502040504020204" pitchFamily="34" charset="0"/>
              <a:ea typeface="Noto Sans" panose="020B0502040504020204" pitchFamily="34" charset="0"/>
              <a:cs typeface="Noto Sans" panose="020B0502040504020204" pitchFamily="34" charset="0"/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C3226214-AAFC-8BA8-8B41-5BB691B7F885}"/>
              </a:ext>
            </a:extLst>
          </p:cNvPr>
          <p:cNvSpPr txBox="1"/>
          <p:nvPr/>
        </p:nvSpPr>
        <p:spPr>
          <a:xfrm>
            <a:off x="7002521" y="2022127"/>
            <a:ext cx="1138179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Feature </a:t>
            </a:r>
            <a:r>
              <a:rPr lang="en-US" sz="1000" b="1">
                <a:solidFill>
                  <a:schemeClr val="accent6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1</a:t>
            </a:r>
            <a:r>
              <a:rPr lang="en-US" sz="1000"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 Per Area (Rotate 2-4X / Year Going Forward)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FA03332A-6056-2C7C-8852-F61AC2C9B436}"/>
              </a:ext>
            </a:extLst>
          </p:cNvPr>
          <p:cNvSpPr txBox="1"/>
          <p:nvPr/>
        </p:nvSpPr>
        <p:spPr>
          <a:xfrm>
            <a:off x="3725590" y="2020710"/>
            <a:ext cx="1637475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Offerings = Blend of Products and Services</a:t>
            </a:r>
          </a:p>
          <a:p>
            <a:pPr algn="ctr"/>
            <a:endParaRPr lang="en-US" sz="1000">
              <a:latin typeface="Noto Sans" panose="020B0502040504020204" pitchFamily="34" charset="0"/>
              <a:ea typeface="Noto Sans" panose="020B0502040504020204" pitchFamily="34" charset="0"/>
              <a:cs typeface="Noto Sans" panose="020B0502040504020204" pitchFamily="34" charset="0"/>
            </a:endParaRPr>
          </a:p>
          <a:p>
            <a:pPr algn="ctr"/>
            <a:r>
              <a:rPr lang="en-US" sz="1000"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Products = Just Products</a:t>
            </a:r>
          </a:p>
          <a:p>
            <a:pPr algn="ctr"/>
            <a:endParaRPr lang="en-US" sz="1000">
              <a:latin typeface="Noto Sans" panose="020B0502040504020204" pitchFamily="34" charset="0"/>
              <a:ea typeface="Noto Sans" panose="020B0502040504020204" pitchFamily="34" charset="0"/>
              <a:cs typeface="Noto Sans" panose="020B0502040504020204" pitchFamily="34" charset="0"/>
            </a:endParaRPr>
          </a:p>
          <a:p>
            <a:pPr algn="ctr"/>
            <a:r>
              <a:rPr lang="en-US" sz="1000"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Services = Just Services</a:t>
            </a: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B7FFF1D7-8F68-DC00-31E8-5247560ECE85}"/>
              </a:ext>
            </a:extLst>
          </p:cNvPr>
          <p:cNvSpPr txBox="1"/>
          <p:nvPr/>
        </p:nvSpPr>
        <p:spPr>
          <a:xfrm>
            <a:off x="2409301" y="2041615"/>
            <a:ext cx="1051363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Set Up Customer Challenge(s)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E0CB0B11-2010-8732-6AB4-9008CAF0896A}"/>
              </a:ext>
            </a:extLst>
          </p:cNvPr>
          <p:cNvSpPr txBox="1"/>
          <p:nvPr/>
        </p:nvSpPr>
        <p:spPr>
          <a:xfrm>
            <a:off x="8405627" y="2029662"/>
            <a:ext cx="1138179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Links to Content </a:t>
            </a:r>
            <a:br>
              <a:rPr lang="en-US" sz="1000"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</a:br>
            <a:endParaRPr lang="en-US" sz="1000">
              <a:latin typeface="Noto Sans" panose="020B0502040504020204" pitchFamily="34" charset="0"/>
              <a:ea typeface="Noto Sans" panose="020B0502040504020204" pitchFamily="34" charset="0"/>
              <a:cs typeface="Noto Sans" panose="020B0502040504020204" pitchFamily="34" charset="0"/>
            </a:endParaRPr>
          </a:p>
          <a:p>
            <a:pPr algn="ctr"/>
            <a:endParaRPr lang="en-US" sz="1000">
              <a:latin typeface="Noto Sans" panose="020B0502040504020204" pitchFamily="34" charset="0"/>
              <a:ea typeface="Noto Sans" panose="020B0502040504020204" pitchFamily="34" charset="0"/>
              <a:cs typeface="Noto Sans" panose="020B0502040504020204" pitchFamily="34" charset="0"/>
            </a:endParaRPr>
          </a:p>
          <a:p>
            <a:pPr algn="ctr"/>
            <a:endParaRPr lang="en-US" sz="1000">
              <a:latin typeface="Noto Sans" panose="020B0502040504020204" pitchFamily="34" charset="0"/>
              <a:ea typeface="Noto Sans" panose="020B0502040504020204" pitchFamily="34" charset="0"/>
              <a:cs typeface="Noto Sans" panose="020B0502040504020204" pitchFamily="34" charset="0"/>
            </a:endParaRPr>
          </a:p>
          <a:p>
            <a:pPr algn="ctr"/>
            <a:endParaRPr lang="en-US" sz="1000">
              <a:latin typeface="Noto Sans" panose="020B0502040504020204" pitchFamily="34" charset="0"/>
              <a:ea typeface="Noto Sans" panose="020B0502040504020204" pitchFamily="34" charset="0"/>
              <a:cs typeface="Noto Sans" panose="020B0502040504020204" pitchFamily="34" charset="0"/>
            </a:endParaRP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4D12CC46-2A28-F191-3058-3B3C7B276D1B}"/>
              </a:ext>
            </a:extLst>
          </p:cNvPr>
          <p:cNvSpPr txBox="1"/>
          <p:nvPr/>
        </p:nvSpPr>
        <p:spPr>
          <a:xfrm>
            <a:off x="9861626" y="2034099"/>
            <a:ext cx="1322305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3 Links (</a:t>
            </a:r>
            <a:r>
              <a:rPr lang="en-US" sz="1000" b="1">
                <a:solidFill>
                  <a:schemeClr val="accent6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1</a:t>
            </a:r>
            <a:r>
              <a:rPr lang="en-US" sz="1000"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 to Commercialization and Other </a:t>
            </a:r>
            <a:r>
              <a:rPr lang="en-US" sz="1000" b="1">
                <a:solidFill>
                  <a:schemeClr val="accent6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2</a:t>
            </a:r>
            <a:r>
              <a:rPr lang="en-US" sz="1000"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 Umbrella Pages)</a:t>
            </a:r>
          </a:p>
        </p:txBody>
      </p:sp>
      <p:cxnSp>
        <p:nvCxnSpPr>
          <p:cNvPr id="52" name="Straight Connector 51">
            <a:extLst>
              <a:ext uri="{FF2B5EF4-FFF2-40B4-BE49-F238E27FC236}">
                <a16:creationId xmlns:a16="http://schemas.microsoft.com/office/drawing/2014/main" id="{7A12185A-57AE-5F4E-0480-241F07E90AB8}"/>
              </a:ext>
            </a:extLst>
          </p:cNvPr>
          <p:cNvCxnSpPr/>
          <p:nvPr/>
        </p:nvCxnSpPr>
        <p:spPr>
          <a:xfrm>
            <a:off x="426719" y="3293830"/>
            <a:ext cx="11338561" cy="0"/>
          </a:xfrm>
          <a:prstGeom prst="line">
            <a:avLst/>
          </a:prstGeom>
          <a:ln w="12700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Rectangle 3">
            <a:extLst>
              <a:ext uri="{FF2B5EF4-FFF2-40B4-BE49-F238E27FC236}">
                <a16:creationId xmlns:a16="http://schemas.microsoft.com/office/drawing/2014/main" id="{B5F02364-7F3F-FE55-29AF-063C9DF60C11}"/>
              </a:ext>
            </a:extLst>
          </p:cNvPr>
          <p:cNvSpPr/>
          <p:nvPr/>
        </p:nvSpPr>
        <p:spPr>
          <a:xfrm flipH="1">
            <a:off x="384693" y="3846353"/>
            <a:ext cx="11313124" cy="479257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err="1">
              <a:latin typeface="+mj-lt"/>
              <a:cs typeface="Segoe UI" panose="020B0502040204020203" pitchFamily="34" charset="0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7D8782CE-5808-4745-D36E-5B8FB52B9C48}"/>
              </a:ext>
            </a:extLst>
          </p:cNvPr>
          <p:cNvSpPr txBox="1"/>
          <p:nvPr/>
        </p:nvSpPr>
        <p:spPr>
          <a:xfrm>
            <a:off x="2342854" y="3989265"/>
            <a:ext cx="1169177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>
                <a:solidFill>
                  <a:schemeClr val="bg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Overview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325EB94B-8271-5268-FEAB-57A11D071C6D}"/>
              </a:ext>
            </a:extLst>
          </p:cNvPr>
          <p:cNvSpPr txBox="1"/>
          <p:nvPr/>
        </p:nvSpPr>
        <p:spPr>
          <a:xfrm>
            <a:off x="7026118" y="3962870"/>
            <a:ext cx="1169177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>
                <a:solidFill>
                  <a:schemeClr val="bg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Benefit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89502B2B-5729-DD6A-2F47-1AAB155C5E9A}"/>
              </a:ext>
            </a:extLst>
          </p:cNvPr>
          <p:cNvSpPr txBox="1"/>
          <p:nvPr/>
        </p:nvSpPr>
        <p:spPr>
          <a:xfrm>
            <a:off x="5238816" y="3869556"/>
            <a:ext cx="157284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>
                <a:solidFill>
                  <a:schemeClr val="bg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Offerings / Products / Services 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32EFB498-D421-09BB-479C-E78DC420CBBD}"/>
              </a:ext>
            </a:extLst>
          </p:cNvPr>
          <p:cNvSpPr/>
          <p:nvPr/>
        </p:nvSpPr>
        <p:spPr>
          <a:xfrm flipV="1">
            <a:off x="2606508" y="4316460"/>
            <a:ext cx="656948" cy="4571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err="1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581BEDA7-C849-CCBB-9812-99770D7E5F72}"/>
              </a:ext>
            </a:extLst>
          </p:cNvPr>
          <p:cNvSpPr txBox="1"/>
          <p:nvPr/>
        </p:nvSpPr>
        <p:spPr>
          <a:xfrm>
            <a:off x="8156468" y="3943678"/>
            <a:ext cx="1731567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>
                <a:solidFill>
                  <a:schemeClr val="bg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Latest Thinking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1CA65463-BD15-82DB-A942-CBB78DD9643B}"/>
              </a:ext>
            </a:extLst>
          </p:cNvPr>
          <p:cNvSpPr txBox="1"/>
          <p:nvPr/>
        </p:nvSpPr>
        <p:spPr>
          <a:xfrm>
            <a:off x="9977800" y="3968259"/>
            <a:ext cx="1169177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>
                <a:solidFill>
                  <a:schemeClr val="bg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Explore Related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70429D1D-7567-5E5F-1253-D47BEA142ADF}"/>
              </a:ext>
            </a:extLst>
          </p:cNvPr>
          <p:cNvSpPr txBox="1"/>
          <p:nvPr/>
        </p:nvSpPr>
        <p:spPr>
          <a:xfrm>
            <a:off x="452425" y="1157167"/>
            <a:ext cx="349075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/>
              <a:t>Pillar Pages (Data, A&amp;C, CES)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14EAD30B-BDD3-D824-C286-05A4215CA8D1}"/>
              </a:ext>
            </a:extLst>
          </p:cNvPr>
          <p:cNvSpPr txBox="1"/>
          <p:nvPr/>
        </p:nvSpPr>
        <p:spPr>
          <a:xfrm>
            <a:off x="5179081" y="4366705"/>
            <a:ext cx="1637475" cy="1631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  <a:hlinkClick r:id="" action="ppaction://noaction"/>
              </a:rPr>
              <a:t>Tab Module</a:t>
            </a:r>
            <a:r>
              <a:rPr lang="en-US" sz="1000"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 required to match offering menus on pillar pages</a:t>
            </a:r>
          </a:p>
          <a:p>
            <a:pPr algn="ctr"/>
            <a:endParaRPr lang="en-US" sz="1000">
              <a:latin typeface="Noto Sans" panose="020B0502040504020204" pitchFamily="34" charset="0"/>
              <a:ea typeface="Noto Sans" panose="020B0502040504020204" pitchFamily="34" charset="0"/>
              <a:cs typeface="Noto Sans" panose="020B0502040504020204" pitchFamily="34" charset="0"/>
            </a:endParaRPr>
          </a:p>
          <a:p>
            <a:pPr algn="ctr"/>
            <a:r>
              <a:rPr lang="en-US" sz="1000"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Offerings = Blend of Products and Services</a:t>
            </a:r>
          </a:p>
          <a:p>
            <a:pPr algn="ctr"/>
            <a:endParaRPr lang="en-US" sz="1000">
              <a:latin typeface="Noto Sans" panose="020B0502040504020204" pitchFamily="34" charset="0"/>
              <a:ea typeface="Noto Sans" panose="020B0502040504020204" pitchFamily="34" charset="0"/>
              <a:cs typeface="Noto Sans" panose="020B0502040504020204" pitchFamily="34" charset="0"/>
            </a:endParaRPr>
          </a:p>
          <a:p>
            <a:pPr algn="ctr"/>
            <a:r>
              <a:rPr lang="en-US" sz="1000"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Products = Just Products</a:t>
            </a:r>
          </a:p>
          <a:p>
            <a:pPr algn="ctr"/>
            <a:endParaRPr lang="en-US" sz="1000">
              <a:latin typeface="Noto Sans" panose="020B0502040504020204" pitchFamily="34" charset="0"/>
              <a:ea typeface="Noto Sans" panose="020B0502040504020204" pitchFamily="34" charset="0"/>
              <a:cs typeface="Noto Sans" panose="020B0502040504020204" pitchFamily="34" charset="0"/>
            </a:endParaRPr>
          </a:p>
          <a:p>
            <a:pPr algn="ctr"/>
            <a:r>
              <a:rPr lang="en-US" sz="1000"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Services = Just Services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D1F9F207-44A4-20CD-83E5-D1D5D251C5F6}"/>
              </a:ext>
            </a:extLst>
          </p:cNvPr>
          <p:cNvSpPr txBox="1"/>
          <p:nvPr/>
        </p:nvSpPr>
        <p:spPr>
          <a:xfrm>
            <a:off x="2414195" y="4399303"/>
            <a:ext cx="1051363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Set Up Customer Challenge(s)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05A27CE0-3373-5776-0E2E-C3125F32F037}"/>
              </a:ext>
            </a:extLst>
          </p:cNvPr>
          <p:cNvSpPr txBox="1"/>
          <p:nvPr/>
        </p:nvSpPr>
        <p:spPr>
          <a:xfrm>
            <a:off x="3563016" y="3969559"/>
            <a:ext cx="1666498" cy="246221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/>
            <a:r>
              <a:rPr lang="en-US" sz="1000">
                <a:solidFill>
                  <a:schemeClr val="bg1"/>
                </a:solidFill>
                <a:latin typeface="Noto Sans"/>
                <a:ea typeface="Noto Sans"/>
                <a:cs typeface="Noto Sans"/>
              </a:rPr>
              <a:t>Featured content</a:t>
            </a:r>
            <a:endParaRPr lang="en-US">
              <a:solidFill>
                <a:schemeClr val="bg1"/>
              </a:solidFill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6EEF844D-01BD-E682-9FD4-7BE75A726AD1}"/>
              </a:ext>
            </a:extLst>
          </p:cNvPr>
          <p:cNvSpPr txBox="1"/>
          <p:nvPr/>
        </p:nvSpPr>
        <p:spPr>
          <a:xfrm>
            <a:off x="7032481" y="4390011"/>
            <a:ext cx="1175350" cy="2092881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/>
            <a:r>
              <a:rPr lang="en-US" sz="1000"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Includes any “Why IQVIA” info, if not already covered in Overview</a:t>
            </a:r>
          </a:p>
          <a:p>
            <a:pPr algn="ctr"/>
            <a:endParaRPr lang="en-US" sz="1000">
              <a:latin typeface="Noto Sans" panose="020B0502040504020204" pitchFamily="34" charset="0"/>
              <a:ea typeface="Noto Sans" panose="020B0502040504020204" pitchFamily="34" charset="0"/>
              <a:cs typeface="Noto Sans" panose="020B0502040504020204" pitchFamily="34" charset="0"/>
            </a:endParaRPr>
          </a:p>
          <a:p>
            <a:r>
              <a:rPr lang="en-US" sz="1000">
                <a:latin typeface="Noto Sans"/>
                <a:ea typeface="Noto Sans"/>
                <a:cs typeface="Noto Sans"/>
              </a:rPr>
              <a:t>Options:</a:t>
            </a:r>
          </a:p>
          <a:p>
            <a:pPr marL="171450" indent="-171450">
              <a:buFont typeface="Calibri"/>
              <a:buChar char="-"/>
            </a:pPr>
            <a:r>
              <a:rPr lang="en-US" sz="1000">
                <a:latin typeface="Noto Sans"/>
                <a:ea typeface="Noto Sans"/>
                <a:cs typeface="Noto Sans"/>
              </a:rPr>
              <a:t>Stats Module </a:t>
            </a:r>
          </a:p>
          <a:p>
            <a:pPr marL="171450" indent="-171450">
              <a:buFont typeface="Calibri"/>
              <a:buChar char="-"/>
            </a:pPr>
            <a:r>
              <a:rPr lang="en-US" sz="1000">
                <a:latin typeface="Noto Sans"/>
                <a:ea typeface="Noto Sans"/>
                <a:cs typeface="Noto Sans"/>
              </a:rPr>
              <a:t>Interactive case study module</a:t>
            </a:r>
          </a:p>
          <a:p>
            <a:pPr marL="171450" indent="-171450">
              <a:buFont typeface="Calibri"/>
              <a:buChar char="-"/>
            </a:pPr>
            <a:r>
              <a:rPr lang="en-US" sz="1000">
                <a:latin typeface="Noto Sans"/>
                <a:ea typeface="Noto Sans"/>
                <a:cs typeface="Noto Sans"/>
              </a:rPr>
              <a:t>Quote module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F996B252-10FA-C24D-F2D7-AF61D1C4A8C9}"/>
              </a:ext>
            </a:extLst>
          </p:cNvPr>
          <p:cNvSpPr txBox="1"/>
          <p:nvPr/>
        </p:nvSpPr>
        <p:spPr>
          <a:xfrm>
            <a:off x="3720411" y="4390011"/>
            <a:ext cx="1327476" cy="2554545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n-US" sz="1000"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Options: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00">
                <a:latin typeface="Noto Sans"/>
                <a:ea typeface="Noto Sans"/>
                <a:cs typeface="Noto Sans"/>
              </a:rPr>
              <a:t>Video Modul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00">
                <a:latin typeface="Noto Sans"/>
                <a:ea typeface="Noto Sans"/>
                <a:cs typeface="Noto Sans"/>
                <a:hlinkClick r:id="" action="ppaction://noaction"/>
              </a:rPr>
              <a:t>50/50 Module </a:t>
            </a:r>
            <a:r>
              <a:rPr lang="en-US" sz="1000">
                <a:latin typeface="Noto Sans"/>
                <a:ea typeface="Noto Sans"/>
                <a:cs typeface="Noto Sans"/>
              </a:rPr>
              <a:t>with Hero Asset, Upcoming Webinar, Upcoming Event, Recent Analyst Report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00">
                <a:latin typeface="Noto Sans"/>
                <a:ea typeface="Noto Sans"/>
                <a:cs typeface="Noto Sans"/>
              </a:rPr>
              <a:t>Interactive case study module 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00">
                <a:latin typeface="Noto Sans"/>
                <a:ea typeface="Noto Sans"/>
                <a:cs typeface="Noto Sans"/>
              </a:rPr>
              <a:t>Featured story module </a:t>
            </a:r>
            <a:endParaRPr lang="en-US">
              <a:latin typeface="Arial" panose="020B0604020202020204"/>
              <a:ea typeface="Noto Sans"/>
              <a:cs typeface="Arial" panose="020B0604020202020204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00">
                <a:latin typeface="Noto Sans"/>
                <a:ea typeface="Noto Sans"/>
                <a:cs typeface="Noto Sans"/>
              </a:rPr>
              <a:t>Card module </a:t>
            </a:r>
            <a:endParaRPr lang="en-US">
              <a:latin typeface="Arial" panose="020B0604020202020204"/>
              <a:ea typeface="Noto Sans"/>
              <a:cs typeface="Arial" panose="020B0604020202020204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000">
              <a:latin typeface="Noto Sans" panose="020B0502040504020204" pitchFamily="34" charset="0"/>
              <a:ea typeface="Noto Sans" panose="020B0502040504020204" pitchFamily="34" charset="0"/>
              <a:cs typeface="Noto Sans" panose="020B0502040504020204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000">
              <a:latin typeface="Noto Sans" panose="020B0502040504020204" pitchFamily="34" charset="0"/>
              <a:ea typeface="Noto Sans" panose="020B0502040504020204" pitchFamily="34" charset="0"/>
              <a:cs typeface="Noto Sans" panose="020B0502040504020204" pitchFamily="34" charset="0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2962B75C-E0C4-A279-5FFA-9A1C7EBB32F1}"/>
              </a:ext>
            </a:extLst>
          </p:cNvPr>
          <p:cNvSpPr txBox="1"/>
          <p:nvPr/>
        </p:nvSpPr>
        <p:spPr>
          <a:xfrm>
            <a:off x="8405626" y="4397774"/>
            <a:ext cx="1138179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Choices: Latest Thinking Module with Content Links OR Content Ticker with Content Links</a:t>
            </a:r>
          </a:p>
          <a:p>
            <a:pPr algn="ctr"/>
            <a:endParaRPr lang="en-US" sz="1000">
              <a:latin typeface="Noto Sans" panose="020B0502040504020204" pitchFamily="34" charset="0"/>
              <a:ea typeface="Noto Sans" panose="020B0502040504020204" pitchFamily="34" charset="0"/>
              <a:cs typeface="Noto Sans" panose="020B0502040504020204" pitchFamily="34" charset="0"/>
            </a:endParaRPr>
          </a:p>
          <a:p>
            <a:pPr algn="ctr"/>
            <a:endParaRPr lang="en-US" sz="1000">
              <a:latin typeface="Noto Sans" panose="020B0502040504020204" pitchFamily="34" charset="0"/>
              <a:ea typeface="Noto Sans" panose="020B0502040504020204" pitchFamily="34" charset="0"/>
              <a:cs typeface="Noto Sans" panose="020B0502040504020204" pitchFamily="34" charset="0"/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FD90BAA3-3D55-365D-60A5-1406BF91B6AC}"/>
              </a:ext>
            </a:extLst>
          </p:cNvPr>
          <p:cNvSpPr txBox="1"/>
          <p:nvPr/>
        </p:nvSpPr>
        <p:spPr>
          <a:xfrm>
            <a:off x="9543806" y="4388764"/>
            <a:ext cx="2098750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2 or More Links (</a:t>
            </a:r>
            <a:r>
              <a:rPr lang="en-US" sz="1000" b="1">
                <a:solidFill>
                  <a:schemeClr val="accent6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1</a:t>
            </a:r>
            <a:r>
              <a:rPr lang="en-US" sz="1000"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 to Parent Pink Page, </a:t>
            </a:r>
            <a:r>
              <a:rPr lang="en-US" sz="1000" b="1">
                <a:solidFill>
                  <a:schemeClr val="accent6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1</a:t>
            </a:r>
            <a:r>
              <a:rPr lang="en-US" sz="1000"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 to  Commercialization Page – do not link to any child pages since those will be covered in “Offerings” but can consider linking to other relevant non-child pages in addition to 2 required pages specified above)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A180D027-BE46-9DDB-B142-511D8B276AA7}"/>
              </a:ext>
            </a:extLst>
          </p:cNvPr>
          <p:cNvSpPr txBox="1"/>
          <p:nvPr/>
        </p:nvSpPr>
        <p:spPr>
          <a:xfrm>
            <a:off x="372679" y="4435265"/>
            <a:ext cx="120370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Content Requirements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C686839A-F42D-1470-73DB-8700905030AF}"/>
              </a:ext>
            </a:extLst>
          </p:cNvPr>
          <p:cNvSpPr txBox="1"/>
          <p:nvPr/>
        </p:nvSpPr>
        <p:spPr>
          <a:xfrm>
            <a:off x="426719" y="3885925"/>
            <a:ext cx="1886539" cy="400110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en-US" sz="1000" b="1">
                <a:solidFill>
                  <a:srgbClr val="FF0000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Exact Tab Titles Required (Don’t Change Wording) &gt;&gt;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3A870645-D88D-F615-A54A-EB5085C10119}"/>
              </a:ext>
            </a:extLst>
          </p:cNvPr>
          <p:cNvSpPr txBox="1"/>
          <p:nvPr/>
        </p:nvSpPr>
        <p:spPr>
          <a:xfrm>
            <a:off x="372679" y="2104754"/>
            <a:ext cx="120370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Content Requirements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D2910DFD-2C7B-53F2-E491-1BD1713C1319}"/>
              </a:ext>
            </a:extLst>
          </p:cNvPr>
          <p:cNvSpPr txBox="1"/>
          <p:nvPr/>
        </p:nvSpPr>
        <p:spPr>
          <a:xfrm>
            <a:off x="412419" y="1570732"/>
            <a:ext cx="1886539" cy="400110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en-US" sz="1000" b="1">
                <a:solidFill>
                  <a:srgbClr val="FF0000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Exact Tab Titles Required (Don’t Change Wording) &gt;&gt;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8AEE35F8-E34A-F992-5BA2-0E8728437E65}"/>
              </a:ext>
            </a:extLst>
          </p:cNvPr>
          <p:cNvSpPr txBox="1"/>
          <p:nvPr/>
        </p:nvSpPr>
        <p:spPr>
          <a:xfrm>
            <a:off x="384693" y="5170987"/>
            <a:ext cx="1914265" cy="861774"/>
          </a:xfrm>
          <a:prstGeom prst="rect">
            <a:avLst/>
          </a:prstGeom>
          <a:solidFill>
            <a:schemeClr val="tx2"/>
          </a:solidFill>
        </p:spPr>
        <p:txBody>
          <a:bodyPr wrap="square" rtlCol="0">
            <a:spAutoFit/>
          </a:bodyPr>
          <a:lstStyle/>
          <a:p>
            <a:r>
              <a:rPr lang="en-US" sz="1000" b="1">
                <a:solidFill>
                  <a:schemeClr val="bg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Page Header</a:t>
            </a:r>
          </a:p>
          <a:p>
            <a:endParaRPr lang="en-US" sz="1000">
              <a:solidFill>
                <a:schemeClr val="bg1"/>
              </a:solidFill>
              <a:latin typeface="Noto Sans" panose="020B0502040504020204" pitchFamily="34" charset="0"/>
              <a:ea typeface="Noto Sans" panose="020B0502040504020204" pitchFamily="34" charset="0"/>
              <a:cs typeface="Noto Sans" panose="020B0502040504020204" pitchFamily="34" charset="0"/>
            </a:endParaRPr>
          </a:p>
          <a:p>
            <a:r>
              <a:rPr lang="en-US" sz="1000">
                <a:solidFill>
                  <a:schemeClr val="bg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  <a:hlinkClick r:id="" action="ppaction://noaction"/>
              </a:rPr>
              <a:t>Mid Level Hero Module</a:t>
            </a:r>
            <a:r>
              <a:rPr lang="en-US" sz="1000">
                <a:solidFill>
                  <a:schemeClr val="bg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 with Image (Do Not Use Video) and Blue Background</a:t>
            </a:r>
          </a:p>
        </p:txBody>
      </p:sp>
    </p:spTree>
    <p:extLst>
      <p:ext uri="{BB962C8B-B14F-4D97-AF65-F5344CB8AC3E}">
        <p14:creationId xmlns:p14="http://schemas.microsoft.com/office/powerpoint/2010/main" val="183404603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204BB570-E3B2-8421-97E8-734977141E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9468" y="2601156"/>
            <a:ext cx="7366570" cy="1866672"/>
          </a:xfrm>
        </p:spPr>
        <p:txBody>
          <a:bodyPr lIns="91440" tIns="45720" rIns="91440" bIns="45720" anchor="t" anchorCtr="0"/>
          <a:lstStyle/>
          <a:p>
            <a:r>
              <a:rPr lang="en-US"/>
              <a:t>What’s next</a:t>
            </a:r>
            <a:br>
              <a:rPr lang="en-US">
                <a:cs typeface="Arial"/>
              </a:rPr>
            </a:br>
            <a:endParaRPr lang="en-US"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1964041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EA40D82B-9DAF-3D94-6FA1-0C98D910BAFE}"/>
              </a:ext>
            </a:extLst>
          </p:cNvPr>
          <p:cNvSpPr>
            <a:spLocks noGrp="1"/>
          </p:cNvSpPr>
          <p:nvPr>
            <p:ph idx="17"/>
          </p:nvPr>
        </p:nvSpPr>
        <p:spPr/>
        <p:txBody>
          <a:bodyPr/>
          <a:lstStyle/>
          <a:p>
            <a:r>
              <a:rPr lang="en-US" b="1"/>
              <a:t>Eastern Standard </a:t>
            </a:r>
          </a:p>
          <a:p>
            <a:pPr lvl="1"/>
            <a:r>
              <a:rPr lang="en-US"/>
              <a:t>SEO audit</a:t>
            </a:r>
          </a:p>
          <a:p>
            <a:pPr lvl="1"/>
            <a:r>
              <a:rPr lang="en-US"/>
              <a:t>Data collection (June 30 – August 15, 2025) </a:t>
            </a:r>
          </a:p>
          <a:p>
            <a:pPr lvl="1"/>
            <a:r>
              <a:rPr lang="en-US"/>
              <a:t>UX insights &amp; further recommendations </a:t>
            </a:r>
          </a:p>
          <a:p>
            <a:pPr lvl="1"/>
            <a:endParaRPr lang="en-US"/>
          </a:p>
          <a:p>
            <a:r>
              <a:rPr lang="en-US" b="1"/>
              <a:t>Commercial Solutions GBU marketing</a:t>
            </a:r>
          </a:p>
          <a:p>
            <a:pPr lvl="1"/>
            <a:r>
              <a:rPr lang="en-US"/>
              <a:t>Update additional yellow pages</a:t>
            </a:r>
          </a:p>
          <a:p>
            <a:pPr lvl="1"/>
            <a:r>
              <a:rPr lang="en-US"/>
              <a:t>Continue data collection </a:t>
            </a:r>
          </a:p>
          <a:p>
            <a:pPr lvl="1"/>
            <a:r>
              <a:rPr lang="en-US"/>
              <a:t>Implement testing on priority page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39624C7-882B-0360-7144-FCB5A05141B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/>
              <a:t>Internal testing, data collection, and testing plan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34D9972A-E470-9DA9-6100-A3863082416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Post-go-live next steps</a:t>
            </a:r>
          </a:p>
        </p:txBody>
      </p:sp>
    </p:spTree>
    <p:extLst>
      <p:ext uri="{BB962C8B-B14F-4D97-AF65-F5344CB8AC3E}">
        <p14:creationId xmlns:p14="http://schemas.microsoft.com/office/powerpoint/2010/main" val="101161695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B5C015D-D8B5-AE16-C017-8563E932DEB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4DC8EBE6-6093-E05C-2596-725E22137C6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9468" y="2601156"/>
            <a:ext cx="7366570" cy="1866672"/>
          </a:xfrm>
        </p:spPr>
        <p:txBody>
          <a:bodyPr lIns="91440" tIns="45720" rIns="91440" bIns="45720" anchor="t" anchorCtr="0"/>
          <a:lstStyle/>
          <a:p>
            <a:r>
              <a:rPr lang="en-US"/>
              <a:t>Questions?</a:t>
            </a:r>
            <a:br>
              <a:rPr lang="en-US">
                <a:cs typeface="Arial"/>
              </a:rPr>
            </a:br>
            <a:endParaRPr lang="en-US"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96126001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F6C5644-711A-25EC-9948-82810157AC73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/>
              <a:t>Website forms</a:t>
            </a:r>
          </a:p>
        </p:txBody>
      </p:sp>
    </p:spTree>
    <p:extLst>
      <p:ext uri="{BB962C8B-B14F-4D97-AF65-F5344CB8AC3E}">
        <p14:creationId xmlns:p14="http://schemas.microsoft.com/office/powerpoint/2010/main" val="213643933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5E8BBFBB-2A43-C8EC-4D17-556C2635218E}"/>
              </a:ext>
            </a:extLst>
          </p:cNvPr>
          <p:cNvSpPr>
            <a:spLocks noGrp="1"/>
          </p:cNvSpPr>
          <p:nvPr>
            <p:ph idx="19"/>
          </p:nvPr>
        </p:nvSpPr>
        <p:spPr>
          <a:xfrm>
            <a:off x="6191135" y="1702626"/>
            <a:ext cx="5532119" cy="4309554"/>
          </a:xfrm>
        </p:spPr>
        <p:txBody>
          <a:bodyPr/>
          <a:lstStyle/>
          <a:p>
            <a:pPr marL="0" indent="0">
              <a:buNone/>
            </a:pPr>
            <a:r>
              <a:rPr lang="en-US" sz="2000"/>
              <a:t>Each form supports a different category of content</a:t>
            </a:r>
          </a:p>
          <a:p>
            <a:r>
              <a:rPr lang="en-US" sz="1800" b="1">
                <a:hlinkClick r:id="rId2"/>
              </a:rPr>
              <a:t>Smartsheet form</a:t>
            </a:r>
            <a:r>
              <a:rPr lang="en-US" sz="1800"/>
              <a:t> is used for web pages</a:t>
            </a:r>
          </a:p>
          <a:p>
            <a:r>
              <a:rPr lang="en-US" sz="1800" b="1">
                <a:hlinkClick r:id="rId3"/>
              </a:rPr>
              <a:t>Via form</a:t>
            </a:r>
            <a:r>
              <a:rPr lang="en-US" sz="1800"/>
              <a:t> is used for asset pages</a:t>
            </a:r>
          </a:p>
          <a:p>
            <a:pPr lvl="1"/>
            <a:r>
              <a:rPr lang="en-US"/>
              <a:t>This form allows the PDF asset to be posted to Brand World, the website, and Sales Spot, which is why this is separate from Smartsheet</a:t>
            </a:r>
          </a:p>
          <a:p>
            <a:pPr lvl="1"/>
            <a:r>
              <a:rPr lang="en-US"/>
              <a:t>Plans are in place to transition everything to the Smartsheet</a:t>
            </a:r>
          </a:p>
          <a:p>
            <a:r>
              <a:rPr lang="en-US" sz="1800"/>
              <a:t>Each form asks you to identify the content category ( “type”) so that you can supply the right content for the team to set up the page properly</a:t>
            </a:r>
          </a:p>
          <a:p>
            <a:pPr lvl="1"/>
            <a:r>
              <a:rPr lang="en-US"/>
              <a:t>While most of the fields are the same, there may be differences between the categories such as a blog versus a webinar.</a:t>
            </a:r>
          </a:p>
          <a:p>
            <a:pPr lvl="1"/>
            <a:endParaRPr lang="en-US" sz="1800"/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83C23F8D-3411-8C37-7788-3A66CA874E60}"/>
              </a:ext>
            </a:extLst>
          </p:cNvPr>
          <p:cNvSpPr>
            <a:spLocks noGrp="1"/>
          </p:cNvSpPr>
          <p:nvPr>
            <p:ph idx="18"/>
          </p:nvPr>
        </p:nvSpPr>
        <p:spPr>
          <a:xfrm>
            <a:off x="384694" y="1702627"/>
            <a:ext cx="5532119" cy="3966654"/>
          </a:xfrm>
        </p:spPr>
        <p:txBody>
          <a:bodyPr/>
          <a:lstStyle/>
          <a:p>
            <a:pPr marL="0" indent="0">
              <a:buNone/>
            </a:pPr>
            <a:r>
              <a:rPr lang="en-US" sz="2000"/>
              <a:t>You can add various types of content to the website. In our system, content is categorized into these buckets: </a:t>
            </a:r>
          </a:p>
          <a:p>
            <a:r>
              <a:rPr lang="en-US" sz="1800" b="1"/>
              <a:t>Web pages </a:t>
            </a:r>
            <a:r>
              <a:rPr lang="en-US" sz="1800"/>
              <a:t>- solution pages for products and services, news, events/webinars and blogs</a:t>
            </a:r>
          </a:p>
          <a:p>
            <a:r>
              <a:rPr lang="en-US" sz="1800" b="1"/>
              <a:t>Asset pages </a:t>
            </a:r>
            <a:r>
              <a:rPr lang="en-US" sz="1800"/>
              <a:t>link to gated and ungated PDFs – brochures, case studies, fact sheets, infographics, insight briefs, podcasts, publications, videos, audios, white papers</a:t>
            </a:r>
          </a:p>
          <a:p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A234469-5F15-8546-5345-0E1BD2BBB699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/>
              <a:t>Content categories and support forms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9B1EEA02-A1CD-034C-C8DC-48B398E75B5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Website content</a:t>
            </a:r>
          </a:p>
        </p:txBody>
      </p:sp>
    </p:spTree>
    <p:extLst>
      <p:ext uri="{BB962C8B-B14F-4D97-AF65-F5344CB8AC3E}">
        <p14:creationId xmlns:p14="http://schemas.microsoft.com/office/powerpoint/2010/main" val="185518708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5CB4B0D6-9B61-D9D6-B178-192DF9BBA00F}"/>
              </a:ext>
            </a:extLst>
          </p:cNvPr>
          <p:cNvSpPr>
            <a:spLocks noGrp="1"/>
          </p:cNvSpPr>
          <p:nvPr>
            <p:ph idx="19"/>
          </p:nvPr>
        </p:nvSpPr>
        <p:spPr>
          <a:xfrm>
            <a:off x="6191135" y="902970"/>
            <a:ext cx="5532119" cy="5377514"/>
          </a:xfrm>
        </p:spPr>
        <p:txBody>
          <a:bodyPr/>
          <a:lstStyle/>
          <a:p>
            <a:r>
              <a:rPr lang="en-US" sz="1800"/>
              <a:t>When supplying the team with documents, send files like Word or PowerPoint that we can cut and paste from — no scanned PDFs.</a:t>
            </a:r>
          </a:p>
          <a:p>
            <a:pPr lvl="1"/>
            <a:r>
              <a:rPr lang="en-US"/>
              <a:t>Keep the formatting simple by using standard options like bold, italics, underline, and hyperlinks.</a:t>
            </a:r>
          </a:p>
          <a:p>
            <a:pPr lvl="1"/>
            <a:r>
              <a:rPr lang="en-US"/>
              <a:t>Avoid the use of tables in your Word documents unless it’s for tabular data.</a:t>
            </a:r>
          </a:p>
          <a:p>
            <a:r>
              <a:rPr lang="en-US" sz="1800"/>
              <a:t>Updates to text - if you have a lot of changes to a single page, go ahead and send a replacement document for everything.</a:t>
            </a:r>
          </a:p>
          <a:p>
            <a:pPr lvl="1"/>
            <a:r>
              <a:rPr lang="en-US"/>
              <a:t>If you have minor changes, please send those rather than a replacement document.</a:t>
            </a:r>
          </a:p>
          <a:p>
            <a:r>
              <a:rPr lang="en-US" sz="1800"/>
              <a:t>If you are updating a solution page and you also need to either add or update an asset, you’ll have to submit a separate ticket for the asset using the VIA form. </a:t>
            </a:r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514EA2C8-15D1-6CA0-0EF6-60CE7E97F645}"/>
              </a:ext>
            </a:extLst>
          </p:cNvPr>
          <p:cNvSpPr>
            <a:spLocks noGrp="1"/>
          </p:cNvSpPr>
          <p:nvPr>
            <p:ph idx="18"/>
          </p:nvPr>
        </p:nvSpPr>
        <p:spPr>
          <a:xfrm>
            <a:off x="384694" y="902970"/>
            <a:ext cx="5532119" cy="5377513"/>
          </a:xfrm>
        </p:spPr>
        <p:txBody>
          <a:bodyPr/>
          <a:lstStyle/>
          <a:p>
            <a:r>
              <a:rPr lang="en-US" sz="1800" b="1"/>
              <a:t>Images must be brand approved </a:t>
            </a:r>
          </a:p>
          <a:p>
            <a:r>
              <a:rPr lang="en-US" sz="1800"/>
              <a:t>If you need a </a:t>
            </a:r>
            <a:r>
              <a:rPr lang="en-US" sz="1800" b="1"/>
              <a:t>custom graphic</a:t>
            </a:r>
            <a:r>
              <a:rPr lang="en-US" sz="1800"/>
              <a:t>, work with Creative Services before submitting your request – this will speed up the process of getting your request completed</a:t>
            </a:r>
          </a:p>
          <a:p>
            <a:pPr lvl="1"/>
            <a:r>
              <a:rPr lang="en-US"/>
              <a:t>Don’t embed images in Word documents or PDFs. Send Brand World URLs and attach custom images to the ticket.</a:t>
            </a:r>
          </a:p>
          <a:p>
            <a:pPr lvl="1"/>
            <a:r>
              <a:rPr lang="en-US"/>
              <a:t>Do not send PPT images or charts – they must be converted to graphics before we can use them.</a:t>
            </a:r>
          </a:p>
          <a:p>
            <a:r>
              <a:rPr lang="en-US" b="1"/>
              <a:t>Videos</a:t>
            </a:r>
            <a:r>
              <a:rPr lang="en-US"/>
              <a:t> must follow </a:t>
            </a:r>
            <a:r>
              <a:rPr lang="en-US">
                <a:hlinkClick r:id="rId2"/>
              </a:rPr>
              <a:t>Brand Guidelines</a:t>
            </a:r>
            <a:r>
              <a:rPr lang="en-US"/>
              <a:t> and be uploaded to Brightcove before we can use them on the website</a:t>
            </a:r>
          </a:p>
          <a:p>
            <a:r>
              <a:rPr lang="en-US" b="1"/>
              <a:t>Podcasts</a:t>
            </a:r>
            <a:r>
              <a:rPr lang="en-US"/>
              <a:t> must also follow </a:t>
            </a:r>
            <a:r>
              <a:rPr lang="en-US">
                <a:hlinkClick r:id="rId3"/>
              </a:rPr>
              <a:t>Brand Guidelines</a:t>
            </a:r>
            <a:r>
              <a:rPr lang="en-US"/>
              <a:t>. </a:t>
            </a:r>
          </a:p>
          <a:p>
            <a:r>
              <a:rPr lang="en-US" b="1"/>
              <a:t>Claims</a:t>
            </a:r>
            <a:r>
              <a:rPr lang="en-US"/>
              <a:t> (proof points) must be in the </a:t>
            </a:r>
            <a:r>
              <a:rPr lang="en-US">
                <a:hlinkClick r:id="rId4"/>
              </a:rPr>
              <a:t>Claims database</a:t>
            </a:r>
            <a:r>
              <a:rPr lang="en-US"/>
              <a:t> before we can set them up on the website</a:t>
            </a:r>
          </a:p>
          <a:p>
            <a:pPr lvl="1"/>
            <a:r>
              <a:rPr lang="en-US"/>
              <a:t>Include the web stat # in your request so that we can find the correct claim.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72586310-EBFF-D033-A00B-4C1667083A1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4694" y="294469"/>
            <a:ext cx="11338560" cy="459912"/>
          </a:xfrm>
        </p:spPr>
        <p:txBody>
          <a:bodyPr/>
          <a:lstStyle/>
          <a:p>
            <a:r>
              <a:rPr lang="en-US"/>
              <a:t>Tips to make the process more efficient​</a:t>
            </a:r>
          </a:p>
        </p:txBody>
      </p:sp>
    </p:spTree>
    <p:extLst>
      <p:ext uri="{BB962C8B-B14F-4D97-AF65-F5344CB8AC3E}">
        <p14:creationId xmlns:p14="http://schemas.microsoft.com/office/powerpoint/2010/main" val="185074788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DE0E3498-D44C-4E3F-66E0-52039C3223E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Agenda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E18C02D5-B939-BFF8-7657-D0B3D73FC719}"/>
              </a:ext>
            </a:extLst>
          </p:cNvPr>
          <p:cNvSpPr txBox="1"/>
          <p:nvPr/>
        </p:nvSpPr>
        <p:spPr>
          <a:xfrm>
            <a:off x="1962418" y="1551964"/>
            <a:ext cx="9429832" cy="203132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lvl="0" indent="-285750" fontAlgn="base">
              <a:buFont typeface="Arial" panose="020B0604020202020204" pitchFamily="34" charset="0"/>
              <a:buChar char="•"/>
            </a:pPr>
            <a:endParaRPr lang="en-US"/>
          </a:p>
          <a:p>
            <a:pPr marL="285750" lvl="0" indent="-285750" fontAlgn="base">
              <a:buFont typeface="Arial" panose="020B0604020202020204" pitchFamily="34" charset="0"/>
              <a:buChar char="•"/>
            </a:pPr>
            <a:r>
              <a:rPr lang="en-US"/>
              <a:t>Welcome</a:t>
            </a:r>
          </a:p>
          <a:p>
            <a:pPr marL="285750" lvl="0" indent="-285750" fontAlgn="base">
              <a:buFont typeface="Arial" panose="020B0604020202020204" pitchFamily="34" charset="0"/>
              <a:buChar char="•"/>
            </a:pPr>
            <a:r>
              <a:rPr lang="en-US"/>
              <a:t>Commercialization website updates</a:t>
            </a:r>
          </a:p>
          <a:p>
            <a:pPr marL="285750" lvl="0" indent="-285750" fontAlgn="base">
              <a:buFont typeface="Arial" panose="020B0604020202020204" pitchFamily="34" charset="0"/>
              <a:buChar char="•"/>
            </a:pPr>
            <a:r>
              <a:rPr lang="en-US"/>
              <a:t>Website forms - submitting content to the web team </a:t>
            </a:r>
          </a:p>
          <a:p>
            <a:pPr marL="285750" lvl="0" indent="-285750" fontAlgn="base">
              <a:buFont typeface="Arial" panose="020B0604020202020204" pitchFamily="34" charset="0"/>
              <a:buChar char="•"/>
            </a:pPr>
            <a:r>
              <a:rPr lang="en-US"/>
              <a:t>Q&amp;A</a:t>
            </a:r>
          </a:p>
          <a:p>
            <a:endParaRPr lang="en-US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1335209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6C5910FA-517D-D276-E120-A5490C971157}"/>
              </a:ext>
            </a:extLst>
          </p:cNvPr>
          <p:cNvSpPr>
            <a:spLocks noGrp="1"/>
          </p:cNvSpPr>
          <p:nvPr>
            <p:ph idx="19"/>
          </p:nvPr>
        </p:nvSpPr>
        <p:spPr/>
        <p:txBody>
          <a:bodyPr/>
          <a:lstStyle/>
          <a:p>
            <a:r>
              <a:rPr lang="en-US" sz="1800"/>
              <a:t>Sales &amp; Marketing Materials – Thought Leadership Materials</a:t>
            </a:r>
          </a:p>
          <a:p>
            <a:pPr lvl="1"/>
            <a:r>
              <a:rPr lang="en-US"/>
              <a:t>Article</a:t>
            </a:r>
          </a:p>
          <a:p>
            <a:pPr lvl="1"/>
            <a:r>
              <a:rPr lang="en-US"/>
              <a:t>Insight Briefs</a:t>
            </a:r>
          </a:p>
          <a:p>
            <a:pPr lvl="1"/>
            <a:r>
              <a:rPr lang="en-US"/>
              <a:t>Publications</a:t>
            </a:r>
          </a:p>
          <a:p>
            <a:pPr lvl="1"/>
            <a:r>
              <a:rPr lang="en-US"/>
              <a:t>White Papers</a:t>
            </a:r>
          </a:p>
          <a:p>
            <a:r>
              <a:rPr lang="en-US" sz="1800"/>
              <a:t>Sales &amp; Marketing Materials – Prospecting Materials</a:t>
            </a:r>
          </a:p>
          <a:p>
            <a:pPr lvl="1"/>
            <a:r>
              <a:rPr lang="en-US"/>
              <a:t>Brochures</a:t>
            </a:r>
          </a:p>
          <a:p>
            <a:pPr lvl="1"/>
            <a:r>
              <a:rPr lang="en-US"/>
              <a:t>Fact Sheets</a:t>
            </a:r>
          </a:p>
          <a:p>
            <a:pPr lvl="1"/>
            <a:r>
              <a:rPr lang="en-US"/>
              <a:t>Infographics</a:t>
            </a:r>
          </a:p>
          <a:p>
            <a:r>
              <a:rPr lang="en-US" sz="1800"/>
              <a:t>Sales &amp; Marketing Materials – Sales Engagement Materials</a:t>
            </a:r>
          </a:p>
          <a:p>
            <a:pPr lvl="1"/>
            <a:r>
              <a:rPr lang="en-US"/>
              <a:t>Case studies</a:t>
            </a:r>
          </a:p>
          <a:p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B5A7893-AD0B-DC91-CF75-46C617E18117}"/>
              </a:ext>
            </a:extLst>
          </p:cNvPr>
          <p:cNvSpPr>
            <a:spLocks noGrp="1"/>
          </p:cNvSpPr>
          <p:nvPr>
            <p:ph idx="18"/>
          </p:nvPr>
        </p:nvSpPr>
        <p:spPr/>
        <p:txBody>
          <a:bodyPr/>
          <a:lstStyle/>
          <a:p>
            <a:r>
              <a:rPr lang="en-US" sz="1800"/>
              <a:t>When you open the form, you’ll pick </a:t>
            </a:r>
            <a:r>
              <a:rPr lang="en-US" sz="1800" b="1"/>
              <a:t>Add</a:t>
            </a:r>
            <a:r>
              <a:rPr lang="en-US" sz="1800"/>
              <a:t> or </a:t>
            </a:r>
            <a:r>
              <a:rPr lang="en-US" sz="1800" b="1"/>
              <a:t>Replace</a:t>
            </a:r>
            <a:r>
              <a:rPr lang="en-US" sz="1800"/>
              <a:t> an Asset from the </a:t>
            </a:r>
            <a:r>
              <a:rPr lang="en-US" sz="1800" i="1"/>
              <a:t>What do you need to do </a:t>
            </a:r>
            <a:r>
              <a:rPr lang="en-US" sz="1800"/>
              <a:t>drop down. </a:t>
            </a:r>
          </a:p>
          <a:p>
            <a:r>
              <a:rPr lang="en-US" sz="1800"/>
              <a:t>Under Content type - you need to choose one of the </a:t>
            </a:r>
            <a:r>
              <a:rPr lang="en-US" sz="1800" b="1"/>
              <a:t>Sales &amp; Marketing options </a:t>
            </a:r>
            <a:r>
              <a:rPr lang="en-US" sz="1800"/>
              <a:t>and then choose the type of asset you want to add. The most popular options for the website are listed to the right.</a:t>
            </a:r>
          </a:p>
          <a:p>
            <a:r>
              <a:rPr lang="en-US" sz="1800"/>
              <a:t>If you do not pick an asset type that appears on the website, the form request will </a:t>
            </a:r>
            <a:r>
              <a:rPr lang="en-US" sz="1800" b="1"/>
              <a:t>not be sent to the website activation team for posting</a:t>
            </a:r>
            <a:r>
              <a:rPr lang="en-US" sz="1800"/>
              <a:t>. </a:t>
            </a:r>
          </a:p>
          <a:p>
            <a:r>
              <a:rPr lang="en-US" sz="1800"/>
              <a:t>If you need help, please reach out to </a:t>
            </a:r>
            <a:r>
              <a:rPr lang="en-US" sz="1800">
                <a:hlinkClick r:id="rId2"/>
              </a:rPr>
              <a:t>Edie Eichert</a:t>
            </a:r>
            <a:endParaRPr lang="en-US" sz="1800"/>
          </a:p>
          <a:p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2CA13BAE-31A4-4999-785D-155EB6BB185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VIA Form – how to find the content type</a:t>
            </a:r>
          </a:p>
        </p:txBody>
      </p:sp>
    </p:spTree>
    <p:extLst>
      <p:ext uri="{BB962C8B-B14F-4D97-AF65-F5344CB8AC3E}">
        <p14:creationId xmlns:p14="http://schemas.microsoft.com/office/powerpoint/2010/main" val="422262770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3C50605E-519A-EB8D-5877-F291285F32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271262380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AD8C524C-9A53-4D86-B780-099467E7852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4693" y="1733834"/>
            <a:ext cx="5119461" cy="4649211"/>
          </a:xfrm>
        </p:spPr>
        <p:txBody>
          <a:bodyPr/>
          <a:lstStyle/>
          <a:p>
            <a:r>
              <a:rPr lang="en-US"/>
              <a:t>Get your questions answered by the marketing operations team. Open Office Hours are held monthly with the following agenda:</a:t>
            </a:r>
          </a:p>
          <a:p>
            <a:pPr lvl="1"/>
            <a:r>
              <a:rPr lang="en-US"/>
              <a:t>Learn about a tip or best practice  </a:t>
            </a:r>
          </a:p>
          <a:p>
            <a:pPr lvl="1"/>
            <a:r>
              <a:rPr lang="en-US"/>
              <a:t>Ask a question – Pre-submit your questions </a:t>
            </a:r>
            <a:r>
              <a:rPr lang="en-US" u="sng">
                <a:hlinkClick r:id="rId2"/>
              </a:rPr>
              <a:t>here</a:t>
            </a:r>
            <a:r>
              <a:rPr lang="en-US" u="sng"/>
              <a:t> </a:t>
            </a:r>
            <a:r>
              <a:rPr lang="en-US"/>
              <a:t>or ask during the office hours</a:t>
            </a:r>
            <a:endParaRPr lang="en-US">
              <a:cs typeface="Arial"/>
            </a:endParaRPr>
          </a:p>
          <a:p>
            <a:pPr lvl="1"/>
            <a:r>
              <a:rPr lang="en-US"/>
              <a:t>Learn how to leverage IQVIA’s marketing systems and processes most effectively</a:t>
            </a:r>
            <a:endParaRPr lang="en-US">
              <a:cs typeface="Arial"/>
            </a:endParaRPr>
          </a:p>
          <a:p>
            <a:pPr lvl="1"/>
            <a:endParaRPr lang="en-US"/>
          </a:p>
          <a:p>
            <a:r>
              <a:rPr lang="en-US" b="1" u="sng"/>
              <a:t>Action:</a:t>
            </a:r>
            <a:r>
              <a:rPr lang="en-US" b="1"/>
              <a:t> </a:t>
            </a:r>
            <a:r>
              <a:rPr lang="en-US"/>
              <a:t>Sign up </a:t>
            </a:r>
            <a:r>
              <a:rPr lang="en-US">
                <a:hlinkClick r:id="rId3"/>
              </a:rPr>
              <a:t>here</a:t>
            </a:r>
            <a:r>
              <a:rPr lang="en-US"/>
              <a:t>, if you need to be added to the outlook invite</a:t>
            </a:r>
            <a:endParaRPr lang="en-US">
              <a:cs typeface="Arial"/>
            </a:endParaRPr>
          </a:p>
          <a:p>
            <a:endParaRPr lang="en-GB"/>
          </a:p>
          <a:p>
            <a:r>
              <a:rPr lang="en-US" b="1" u="sng">
                <a:cs typeface="Arial"/>
              </a:rPr>
              <a:t>Reminder: </a:t>
            </a:r>
            <a:r>
              <a:rPr lang="en-US">
                <a:cs typeface="Arial"/>
              </a:rPr>
              <a:t>Save your questions for the end or enter in the chat. We will address as many as we can!</a:t>
            </a:r>
          </a:p>
          <a:p>
            <a:endParaRPr lang="en-GB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E42B8F4A-7A4B-45BF-B1D1-FEB2E02DE87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Marketing Operations Open Office Hours </a:t>
            </a:r>
            <a:endParaRPr lang="en-GB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8971DC2E-BABE-4487-B9E1-D802B0DB3DD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429890" y="1733835"/>
            <a:ext cx="4534533" cy="36200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9202061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13FFB10-878E-0CD7-8E95-6DD7C8C3696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/>
              <a:t>CS GBU Marketing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F6C5644-711A-25EC-9948-82810157AC73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/>
              <a:t>Commercialization Web Update 1H25</a:t>
            </a:r>
          </a:p>
        </p:txBody>
      </p:sp>
      <p:sp>
        <p:nvSpPr>
          <p:cNvPr id="6" name="Subtitle 5">
            <a:extLst>
              <a:ext uri="{FF2B5EF4-FFF2-40B4-BE49-F238E27FC236}">
                <a16:creationId xmlns:a16="http://schemas.microsoft.com/office/drawing/2014/main" id="{A6FA3F35-2A98-A6F5-EC87-BFD79E96D5CD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/>
              <a:t>Marketing Operations Open Office Hours August 6, 2025</a:t>
            </a:r>
          </a:p>
        </p:txBody>
      </p:sp>
    </p:spTree>
    <p:extLst>
      <p:ext uri="{BB962C8B-B14F-4D97-AF65-F5344CB8AC3E}">
        <p14:creationId xmlns:p14="http://schemas.microsoft.com/office/powerpoint/2010/main" val="390740128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015E4DCA-D810-E1F3-4311-36D333F0CFA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84694" y="1081826"/>
            <a:ext cx="11338560" cy="402336"/>
          </a:xfrm>
        </p:spPr>
        <p:txBody>
          <a:bodyPr/>
          <a:lstStyle/>
          <a:p>
            <a:r>
              <a:rPr lang="en-US"/>
              <a:t>Commercialization web refresh 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30C69E4D-8A83-582F-8DD4-92E96838188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4694" y="294468"/>
            <a:ext cx="11338560" cy="768263"/>
          </a:xfrm>
        </p:spPr>
        <p:txBody>
          <a:bodyPr anchor="b">
            <a:normAutofit/>
          </a:bodyPr>
          <a:lstStyle/>
          <a:p>
            <a:r>
              <a:rPr lang="en-US"/>
              <a:t>Agenda</a:t>
            </a:r>
          </a:p>
        </p:txBody>
      </p:sp>
      <p:sp>
        <p:nvSpPr>
          <p:cNvPr id="13" name="Footer Placeholder 4">
            <a:extLst>
              <a:ext uri="{FF2B5EF4-FFF2-40B4-BE49-F238E27FC236}">
                <a16:creationId xmlns:a16="http://schemas.microsoft.com/office/drawing/2014/main" id="{AA96BFA4-AE55-A559-6215-F80C068C9D9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84694" y="6387858"/>
            <a:ext cx="9285484" cy="338087"/>
          </a:xfrm>
        </p:spPr>
        <p:txBody>
          <a:bodyPr/>
          <a:lstStyle/>
          <a:p>
            <a:endParaRPr lang="en-US"/>
          </a:p>
        </p:txBody>
      </p:sp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FC40945B-4A79-FDA4-8296-22230965B2CA}"/>
              </a:ext>
            </a:extLst>
          </p:cNvPr>
          <p:cNvGraphicFramePr>
            <a:graphicFrameLocks noGrp="1"/>
          </p:cNvGraphicFramePr>
          <p:nvPr>
            <p:extLst>
              <p:ext uri="{E7BDC344-281C-4309-B0C6-D0EE65EED2A8}">
                <p202:designPr xmlns:p202="http://schemas.microsoft.com/office/powerpoint/2020/02/main">
                  <p202:designTagLst>
                    <p202:designTag name="ARCH:1:CLS" val="StackedSequentialRowTable"/>
                  </p202:designTagLst>
                </p202:designPr>
              </p:ext>
            </p:extLst>
          </p:nvPr>
        </p:nvGraphicFramePr>
        <p:xfrm>
          <a:off x="1502067" y="1932728"/>
          <a:ext cx="9103814" cy="4117660"/>
        </p:xfrm>
        <a:graphic>
          <a:graphicData uri="http://schemas.openxmlformats.org/drawingml/2006/table">
            <a:tbl>
              <a:tblPr firstRow="1" bandRow="1">
                <a:noFill/>
                <a:tableStyleId>{5C22544A-7EE6-4342-B048-85BDC9FD1C3A}</a:tableStyleId>
              </a:tblPr>
              <a:tblGrid>
                <a:gridCol w="2547066">
                  <a:extLst>
                    <a:ext uri="{9D8B030D-6E8A-4147-A177-3AD203B41FA5}">
                      <a16:colId xmlns:a16="http://schemas.microsoft.com/office/drawing/2014/main" val="2552545811"/>
                    </a:ext>
                  </a:extLst>
                </a:gridCol>
                <a:gridCol w="6556748">
                  <a:extLst>
                    <a:ext uri="{9D8B030D-6E8A-4147-A177-3AD203B41FA5}">
                      <a16:colId xmlns:a16="http://schemas.microsoft.com/office/drawing/2014/main" val="1488681087"/>
                    </a:ext>
                  </a:extLst>
                </a:gridCol>
              </a:tblGrid>
              <a:tr h="823532">
                <a:tc>
                  <a:txBody>
                    <a:bodyPr/>
                    <a:lstStyle/>
                    <a:p>
                      <a:r>
                        <a:rPr lang="en-US" sz="3300" b="1" cap="none" spc="0">
                          <a:solidFill>
                            <a:schemeClr val="accent1"/>
                          </a:solidFill>
                        </a:rPr>
                        <a:t>01</a:t>
                      </a:r>
                    </a:p>
                  </a:txBody>
                  <a:tcPr marL="141446" marR="141446" marT="141446" marB="141446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6350" cap="flat" cmpd="sng" algn="ctr">
                      <a:noFill/>
                      <a:prstDash val="soli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2100" b="0" cap="none" spc="0">
                          <a:solidFill>
                            <a:schemeClr val="tx1"/>
                          </a:solidFill>
                        </a:rPr>
                        <a:t>Goal &amp; objectives</a:t>
                      </a:r>
                    </a:p>
                  </a:txBody>
                  <a:tcPr marL="141446" marR="141446" marT="141446" marB="141446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6350" cap="flat" cmpd="sng" algn="ctr">
                      <a:noFill/>
                      <a:prstDash val="soli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96929317"/>
                  </a:ext>
                </a:extLst>
              </a:tr>
              <a:tr h="823532">
                <a:tc>
                  <a:txBody>
                    <a:bodyPr/>
                    <a:lstStyle/>
                    <a:p>
                      <a:r>
                        <a:rPr lang="en-US" sz="3300" b="1" cap="none" spc="0">
                          <a:solidFill>
                            <a:schemeClr val="accent1"/>
                          </a:solidFill>
                        </a:rPr>
                        <a:t>02</a:t>
                      </a:r>
                    </a:p>
                  </a:txBody>
                  <a:tcPr marL="141446" marR="141446" marT="141446" marB="141446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2100" b="0" cap="none" spc="0">
                          <a:solidFill>
                            <a:schemeClr val="tx1"/>
                          </a:solidFill>
                        </a:rPr>
                        <a:t>Project scope </a:t>
                      </a:r>
                    </a:p>
                  </a:txBody>
                  <a:tcPr marL="141446" marR="141446" marT="141446" marB="141446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6370208"/>
                  </a:ext>
                </a:extLst>
              </a:tr>
              <a:tr h="823532">
                <a:tc>
                  <a:txBody>
                    <a:bodyPr/>
                    <a:lstStyle/>
                    <a:p>
                      <a:r>
                        <a:rPr lang="en-US" sz="3300" b="1" cap="none" spc="0">
                          <a:solidFill>
                            <a:schemeClr val="accent1"/>
                          </a:solidFill>
                        </a:rPr>
                        <a:t>03</a:t>
                      </a:r>
                    </a:p>
                  </a:txBody>
                  <a:tcPr marL="141446" marR="141446" marT="141446" marB="141446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2100" b="0" cap="none" spc="0">
                          <a:solidFill>
                            <a:schemeClr val="tx1"/>
                          </a:solidFill>
                        </a:rPr>
                        <a:t>Process </a:t>
                      </a:r>
                    </a:p>
                  </a:txBody>
                  <a:tcPr marL="141446" marR="141446" marT="141446" marB="141446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29394907"/>
                  </a:ext>
                </a:extLst>
              </a:tr>
              <a:tr h="823532">
                <a:tc>
                  <a:txBody>
                    <a:bodyPr/>
                    <a:lstStyle/>
                    <a:p>
                      <a:r>
                        <a:rPr lang="en-US" sz="3300" b="1" cap="none" spc="0">
                          <a:solidFill>
                            <a:schemeClr val="accent1"/>
                          </a:solidFill>
                        </a:rPr>
                        <a:t>04</a:t>
                      </a:r>
                    </a:p>
                  </a:txBody>
                  <a:tcPr marL="141446" marR="141446" marT="141446" marB="141446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2100" b="0" cap="none" spc="0">
                          <a:solidFill>
                            <a:schemeClr val="tx1"/>
                          </a:solidFill>
                        </a:rPr>
                        <a:t>Key learnings </a:t>
                      </a:r>
                    </a:p>
                  </a:txBody>
                  <a:tcPr marL="141446" marR="141446" marT="141446" marB="141446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1778227"/>
                  </a:ext>
                </a:extLst>
              </a:tr>
              <a:tr h="823532">
                <a:tc>
                  <a:txBody>
                    <a:bodyPr/>
                    <a:lstStyle/>
                    <a:p>
                      <a:r>
                        <a:rPr lang="en-US" sz="3300" b="1" cap="none" spc="0">
                          <a:solidFill>
                            <a:schemeClr val="accent1"/>
                          </a:solidFill>
                        </a:rPr>
                        <a:t>05</a:t>
                      </a:r>
                    </a:p>
                  </a:txBody>
                  <a:tcPr marL="141446" marR="141446" marT="141446" marB="141446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</a:lnT>
                    <a:lnB w="6350" cap="flat" cmpd="sng" algn="ctr">
                      <a:noFill/>
                      <a:prstDash val="soli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2100" b="0" cap="none" spc="0">
                          <a:solidFill>
                            <a:schemeClr val="tx1"/>
                          </a:solidFill>
                        </a:rPr>
                        <a:t>What’s next</a:t>
                      </a:r>
                    </a:p>
                  </a:txBody>
                  <a:tcPr marL="141446" marR="141446" marT="141446" marB="141446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</a:lnT>
                    <a:lnB w="6350" cap="flat" cmpd="sng" algn="ctr">
                      <a:noFill/>
                      <a:prstDash val="soli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98483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08429811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288DF05-8C3D-AA29-6344-F7140F3A7FD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7D0454DC-9882-4B6A-2479-FE276DC3369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4694" y="294468"/>
            <a:ext cx="9378777" cy="768263"/>
          </a:xfrm>
        </p:spPr>
        <p:txBody>
          <a:bodyPr/>
          <a:lstStyle/>
          <a:p>
            <a:r>
              <a:rPr lang="en-US"/>
              <a:t>Commercialization web refresh</a:t>
            </a:r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F6A525BF-0D0C-B794-FEC4-7311AD6717E3}"/>
              </a:ext>
            </a:extLst>
          </p:cNvPr>
          <p:cNvGrpSpPr/>
          <p:nvPr/>
        </p:nvGrpSpPr>
        <p:grpSpPr>
          <a:xfrm>
            <a:off x="424869" y="1320864"/>
            <a:ext cx="5435070" cy="377292"/>
            <a:chOff x="424869" y="1197220"/>
            <a:chExt cx="5435070" cy="377292"/>
          </a:xfrm>
        </p:grpSpPr>
        <p:sp>
          <p:nvSpPr>
            <p:cNvPr id="12" name="Text Placeholder 7">
              <a:extLst>
                <a:ext uri="{FF2B5EF4-FFF2-40B4-BE49-F238E27FC236}">
                  <a16:creationId xmlns:a16="http://schemas.microsoft.com/office/drawing/2014/main" id="{81799ED9-41CF-F71C-3BE4-40AB009EBEBC}"/>
                </a:ext>
              </a:extLst>
            </p:cNvPr>
            <p:cNvSpPr txBox="1">
              <a:spLocks/>
            </p:cNvSpPr>
            <p:nvPr/>
          </p:nvSpPr>
          <p:spPr>
            <a:xfrm>
              <a:off x="424869" y="1197220"/>
              <a:ext cx="5132967" cy="334583"/>
            </a:xfrm>
            <a:prstGeom prst="rect">
              <a:avLst/>
            </a:prstGeom>
            <a:noFill/>
          </p:spPr>
          <p:txBody>
            <a:bodyPr/>
            <a:lstStyle>
              <a:lvl1pPr marL="228600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10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Goal</a:t>
              </a:r>
            </a:p>
          </p:txBody>
        </p:sp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DAF47311-1C8F-20D6-FE86-D6EFBA47FD32}"/>
                </a:ext>
              </a:extLst>
            </p:cNvPr>
            <p:cNvCxnSpPr>
              <a:cxnSpLocks/>
            </p:cNvCxnSpPr>
            <p:nvPr/>
          </p:nvCxnSpPr>
          <p:spPr>
            <a:xfrm>
              <a:off x="424870" y="1574512"/>
              <a:ext cx="5435069" cy="0"/>
            </a:xfrm>
            <a:prstGeom prst="line">
              <a:avLst/>
            </a:prstGeom>
            <a:ln w="76200" cap="rnd">
              <a:solidFill>
                <a:schemeClr val="accent1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7" name="Group 16">
            <a:extLst>
              <a:ext uri="{FF2B5EF4-FFF2-40B4-BE49-F238E27FC236}">
                <a16:creationId xmlns:a16="http://schemas.microsoft.com/office/drawing/2014/main" id="{F90135F8-CB61-58C3-3202-0F0BA59EB0A6}"/>
              </a:ext>
            </a:extLst>
          </p:cNvPr>
          <p:cNvGrpSpPr/>
          <p:nvPr/>
        </p:nvGrpSpPr>
        <p:grpSpPr>
          <a:xfrm>
            <a:off x="430353" y="2708805"/>
            <a:ext cx="11325844" cy="2830282"/>
            <a:chOff x="6630255" y="1464638"/>
            <a:chExt cx="11325844" cy="2830282"/>
          </a:xfrm>
        </p:grpSpPr>
        <p:sp>
          <p:nvSpPr>
            <p:cNvPr id="10" name="Text Placeholder 7">
              <a:extLst>
                <a:ext uri="{FF2B5EF4-FFF2-40B4-BE49-F238E27FC236}">
                  <a16:creationId xmlns:a16="http://schemas.microsoft.com/office/drawing/2014/main" id="{89D8404F-48D7-C7E5-71FE-E138C09231BB}"/>
                </a:ext>
              </a:extLst>
            </p:cNvPr>
            <p:cNvSpPr txBox="1">
              <a:spLocks/>
            </p:cNvSpPr>
            <p:nvPr/>
          </p:nvSpPr>
          <p:spPr>
            <a:xfrm>
              <a:off x="6630255" y="1464638"/>
              <a:ext cx="5132967" cy="334583"/>
            </a:xfrm>
            <a:prstGeom prst="rect">
              <a:avLst/>
            </a:prstGeom>
            <a:noFill/>
          </p:spPr>
          <p:txBody>
            <a:bodyPr/>
            <a:lstStyle>
              <a:lvl1pPr marL="228600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10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>
                  <a:ln>
                    <a:noFill/>
                  </a:ln>
                  <a:solidFill>
                    <a:srgbClr val="43B02A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Objectives</a:t>
              </a:r>
            </a:p>
          </p:txBody>
        </p:sp>
        <p:cxnSp>
          <p:nvCxnSpPr>
            <p:cNvPr id="11" name="Straight Connector 10">
              <a:extLst>
                <a:ext uri="{FF2B5EF4-FFF2-40B4-BE49-F238E27FC236}">
                  <a16:creationId xmlns:a16="http://schemas.microsoft.com/office/drawing/2014/main" id="{884A44E0-94CE-D20A-CA60-FAF20DF76A2E}"/>
                </a:ext>
              </a:extLst>
            </p:cNvPr>
            <p:cNvCxnSpPr>
              <a:cxnSpLocks/>
            </p:cNvCxnSpPr>
            <p:nvPr/>
          </p:nvCxnSpPr>
          <p:spPr>
            <a:xfrm>
              <a:off x="6630256" y="1841930"/>
              <a:ext cx="5435069" cy="0"/>
            </a:xfrm>
            <a:prstGeom prst="line">
              <a:avLst/>
            </a:prstGeom>
            <a:ln w="76200" cap="rnd">
              <a:solidFill>
                <a:srgbClr val="00B050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" name="TextBox 1">
              <a:extLst>
                <a:ext uri="{FF2B5EF4-FFF2-40B4-BE49-F238E27FC236}">
                  <a16:creationId xmlns:a16="http://schemas.microsoft.com/office/drawing/2014/main" id="{8CB264A2-0DE4-821C-3A69-01CE8055C4A5}"/>
                </a:ext>
              </a:extLst>
            </p:cNvPr>
            <p:cNvSpPr txBox="1"/>
            <p:nvPr/>
          </p:nvSpPr>
          <p:spPr>
            <a:xfrm>
              <a:off x="6630255" y="1955818"/>
              <a:ext cx="11325844" cy="233910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indent="0">
                <a:spcAft>
                  <a:spcPts val="300"/>
                </a:spcAft>
                <a:buNone/>
                <a:tabLst>
                  <a:tab pos="4283075" algn="l"/>
                </a:tabLst>
              </a:pPr>
              <a:r>
                <a:rPr lang="en-US" sz="1400"/>
                <a:t>Create a more effective and user-friendly web experience that supports our commercialization goals.</a:t>
              </a:r>
            </a:p>
            <a:p>
              <a:pPr marL="0" indent="0">
                <a:spcAft>
                  <a:spcPts val="300"/>
                </a:spcAft>
                <a:buNone/>
                <a:tabLst>
                  <a:tab pos="4283075" algn="l"/>
                </a:tabLst>
              </a:pPr>
              <a:endParaRPr lang="en-US" sz="1400" b="1"/>
            </a:p>
            <a:p>
              <a:pPr marL="285750" indent="-285750">
                <a:spcAft>
                  <a:spcPts val="300"/>
                </a:spcAft>
                <a:buFont typeface="Arial" panose="020B0604020202020204" pitchFamily="34" charset="0"/>
                <a:buChar char="•"/>
                <a:tabLst>
                  <a:tab pos="4283075" algn="l"/>
                </a:tabLst>
              </a:pPr>
              <a:r>
                <a:rPr lang="en-US" sz="1400" b="1"/>
                <a:t>Implementation of new commercialization web architecture</a:t>
              </a:r>
            </a:p>
            <a:p>
              <a:pPr marL="285750" indent="-285750">
                <a:spcAft>
                  <a:spcPts val="300"/>
                </a:spcAft>
                <a:buFont typeface="Arial" panose="020B0604020202020204" pitchFamily="34" charset="0"/>
                <a:buChar char="•"/>
                <a:tabLst>
                  <a:tab pos="4283075" algn="l"/>
                </a:tabLst>
              </a:pPr>
              <a:endParaRPr lang="en-US" sz="1400"/>
            </a:p>
            <a:p>
              <a:pPr marL="285750" indent="-285750">
                <a:spcAft>
                  <a:spcPts val="300"/>
                </a:spcAft>
                <a:buFont typeface="Arial" panose="020B0604020202020204" pitchFamily="34" charset="0"/>
                <a:buChar char="•"/>
                <a:tabLst>
                  <a:tab pos="4283075" algn="l"/>
                </a:tabLst>
              </a:pPr>
              <a:r>
                <a:rPr lang="en-US" sz="1400" b="1"/>
                <a:t>Increase in organic pageviews</a:t>
              </a:r>
            </a:p>
            <a:p>
              <a:pPr marL="285750" indent="-285750">
                <a:spcAft>
                  <a:spcPts val="300"/>
                </a:spcAft>
                <a:buFont typeface="Arial" panose="020B0604020202020204" pitchFamily="34" charset="0"/>
                <a:buChar char="•"/>
                <a:tabLst>
                  <a:tab pos="4283075" algn="l"/>
                </a:tabLst>
              </a:pPr>
              <a:endParaRPr lang="en-US" sz="1400" b="1"/>
            </a:p>
            <a:p>
              <a:pPr marL="285750" indent="-285750">
                <a:spcAft>
                  <a:spcPts val="300"/>
                </a:spcAft>
                <a:buFont typeface="Arial" panose="020B0604020202020204" pitchFamily="34" charset="0"/>
                <a:buChar char="•"/>
                <a:tabLst>
                  <a:tab pos="4283075" algn="l"/>
                </a:tabLst>
              </a:pPr>
              <a:r>
                <a:rPr lang="en-US" sz="1400" b="1"/>
                <a:t>Increase engaged sessions and time on page</a:t>
              </a:r>
              <a:endParaRPr lang="en-US" sz="1400"/>
            </a:p>
            <a:p>
              <a:pPr marL="285750" indent="-285750">
                <a:spcAft>
                  <a:spcPts val="300"/>
                </a:spcAft>
                <a:buFont typeface="Arial" panose="020B0604020202020204" pitchFamily="34" charset="0"/>
                <a:buChar char="•"/>
                <a:tabLst>
                  <a:tab pos="4283075" algn="l"/>
                </a:tabLst>
              </a:pPr>
              <a:endParaRPr lang="en-US" sz="1400"/>
            </a:p>
            <a:p>
              <a:pPr marL="285750" indent="-285750">
                <a:spcAft>
                  <a:spcPts val="300"/>
                </a:spcAft>
                <a:buFont typeface="Arial" panose="020B0604020202020204" pitchFamily="34" charset="0"/>
                <a:buChar char="•"/>
                <a:tabLst>
                  <a:tab pos="4283075" algn="l"/>
                </a:tabLst>
              </a:pPr>
              <a:r>
                <a:rPr lang="en-US" sz="1400" b="1"/>
                <a:t>Multi-Page user path</a:t>
              </a:r>
            </a:p>
          </p:txBody>
        </p:sp>
      </p:grpSp>
      <p:sp>
        <p:nvSpPr>
          <p:cNvPr id="14" name="TextBox 13">
            <a:extLst>
              <a:ext uri="{FF2B5EF4-FFF2-40B4-BE49-F238E27FC236}">
                <a16:creationId xmlns:a16="http://schemas.microsoft.com/office/drawing/2014/main" id="{0DA3C46B-5E35-51D4-E262-335E22299414}"/>
              </a:ext>
            </a:extLst>
          </p:cNvPr>
          <p:cNvSpPr txBox="1"/>
          <p:nvPr/>
        </p:nvSpPr>
        <p:spPr>
          <a:xfrm>
            <a:off x="424869" y="1877191"/>
            <a:ext cx="11315409" cy="9238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en-US" sz="1400"/>
              <a:t>Restructure Commercialization web architecture and refresh content to help the market understand IQVIA’s ability to address a broad range of customer needs and use cases, help users find relevant content more efficiently and enhance engagement.</a:t>
            </a:r>
          </a:p>
          <a:p>
            <a:pPr>
              <a:lnSpc>
                <a:spcPct val="150000"/>
              </a:lnSpc>
            </a:pPr>
            <a:endParaRPr lang="en-US" sz="1600" err="1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5463709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529BFB13-9EFA-4661-86A3-6CD69ABF1A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Planning &amp; phased implementation </a:t>
            </a:r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856E7A71-062E-86F0-999C-B3AF088BFC92}"/>
              </a:ext>
            </a:extLst>
          </p:cNvPr>
          <p:cNvGrpSpPr/>
          <p:nvPr/>
        </p:nvGrpSpPr>
        <p:grpSpPr>
          <a:xfrm>
            <a:off x="424869" y="1434731"/>
            <a:ext cx="11571230" cy="377292"/>
            <a:chOff x="424869" y="1197220"/>
            <a:chExt cx="5733813" cy="377292"/>
          </a:xfrm>
        </p:grpSpPr>
        <p:sp>
          <p:nvSpPr>
            <p:cNvPr id="12" name="Text Placeholder 7">
              <a:extLst>
                <a:ext uri="{FF2B5EF4-FFF2-40B4-BE49-F238E27FC236}">
                  <a16:creationId xmlns:a16="http://schemas.microsoft.com/office/drawing/2014/main" id="{95CA055C-F709-4A9B-B158-30E431734B96}"/>
                </a:ext>
              </a:extLst>
            </p:cNvPr>
            <p:cNvSpPr txBox="1">
              <a:spLocks/>
            </p:cNvSpPr>
            <p:nvPr/>
          </p:nvSpPr>
          <p:spPr>
            <a:xfrm>
              <a:off x="424869" y="1197220"/>
              <a:ext cx="5733813" cy="334583"/>
            </a:xfrm>
            <a:prstGeom prst="rect">
              <a:avLst/>
            </a:prstGeom>
            <a:noFill/>
          </p:spPr>
          <p:txBody>
            <a:bodyPr/>
            <a:lstStyle>
              <a:lvl1pPr marL="228600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10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Phase I  - Site Mapping and Content Review</a:t>
              </a:r>
            </a:p>
          </p:txBody>
        </p:sp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DB8F1ED5-0D37-4702-9236-48351C63DEFC}"/>
                </a:ext>
              </a:extLst>
            </p:cNvPr>
            <p:cNvCxnSpPr>
              <a:cxnSpLocks/>
            </p:cNvCxnSpPr>
            <p:nvPr/>
          </p:nvCxnSpPr>
          <p:spPr>
            <a:xfrm>
              <a:off x="424870" y="1574512"/>
              <a:ext cx="5435069" cy="0"/>
            </a:xfrm>
            <a:prstGeom prst="line">
              <a:avLst/>
            </a:prstGeom>
            <a:ln w="76200" cap="rnd">
              <a:solidFill>
                <a:schemeClr val="accent1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7" name="Group 16">
            <a:extLst>
              <a:ext uri="{FF2B5EF4-FFF2-40B4-BE49-F238E27FC236}">
                <a16:creationId xmlns:a16="http://schemas.microsoft.com/office/drawing/2014/main" id="{BAC1640A-443B-8B7B-A2E8-273CE2034EF4}"/>
              </a:ext>
            </a:extLst>
          </p:cNvPr>
          <p:cNvGrpSpPr/>
          <p:nvPr/>
        </p:nvGrpSpPr>
        <p:grpSpPr>
          <a:xfrm>
            <a:off x="424869" y="4826471"/>
            <a:ext cx="10968346" cy="377292"/>
            <a:chOff x="424869" y="1197220"/>
            <a:chExt cx="5435070" cy="377292"/>
          </a:xfrm>
        </p:grpSpPr>
        <p:sp>
          <p:nvSpPr>
            <p:cNvPr id="18" name="Text Placeholder 7">
              <a:extLst>
                <a:ext uri="{FF2B5EF4-FFF2-40B4-BE49-F238E27FC236}">
                  <a16:creationId xmlns:a16="http://schemas.microsoft.com/office/drawing/2014/main" id="{F4332C22-6630-9406-43CE-222ECEBD221B}"/>
                </a:ext>
              </a:extLst>
            </p:cNvPr>
            <p:cNvSpPr txBox="1">
              <a:spLocks/>
            </p:cNvSpPr>
            <p:nvPr/>
          </p:nvSpPr>
          <p:spPr>
            <a:xfrm>
              <a:off x="424869" y="1197220"/>
              <a:ext cx="5132967" cy="334583"/>
            </a:xfrm>
            <a:prstGeom prst="rect">
              <a:avLst/>
            </a:prstGeom>
            <a:noFill/>
          </p:spPr>
          <p:txBody>
            <a:bodyPr/>
            <a:lstStyle>
              <a:lvl1pPr marL="228600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10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>
                  <a:ln>
                    <a:noFill/>
                  </a:ln>
                  <a:solidFill>
                    <a:srgbClr val="00BFB3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Phase III - Build</a:t>
              </a:r>
            </a:p>
          </p:txBody>
        </p: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10551CBF-1192-68E1-6204-689EC897F365}"/>
                </a:ext>
              </a:extLst>
            </p:cNvPr>
            <p:cNvCxnSpPr>
              <a:cxnSpLocks/>
            </p:cNvCxnSpPr>
            <p:nvPr/>
          </p:nvCxnSpPr>
          <p:spPr>
            <a:xfrm>
              <a:off x="424870" y="1574512"/>
              <a:ext cx="5435069" cy="0"/>
            </a:xfrm>
            <a:prstGeom prst="line">
              <a:avLst/>
            </a:prstGeom>
            <a:ln w="76200" cap="rnd">
              <a:solidFill>
                <a:srgbClr val="00BFB3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" name="Group 3">
            <a:extLst>
              <a:ext uri="{FF2B5EF4-FFF2-40B4-BE49-F238E27FC236}">
                <a16:creationId xmlns:a16="http://schemas.microsoft.com/office/drawing/2014/main" id="{C9834861-DEEB-2C1C-7401-2B04C1653C37}"/>
              </a:ext>
            </a:extLst>
          </p:cNvPr>
          <p:cNvGrpSpPr/>
          <p:nvPr/>
        </p:nvGrpSpPr>
        <p:grpSpPr>
          <a:xfrm>
            <a:off x="424871" y="3485946"/>
            <a:ext cx="10968344" cy="435693"/>
            <a:chOff x="401219" y="744043"/>
            <a:chExt cx="5435069" cy="501058"/>
          </a:xfrm>
        </p:grpSpPr>
        <p:sp>
          <p:nvSpPr>
            <p:cNvPr id="5" name="Text Placeholder 7">
              <a:extLst>
                <a:ext uri="{FF2B5EF4-FFF2-40B4-BE49-F238E27FC236}">
                  <a16:creationId xmlns:a16="http://schemas.microsoft.com/office/drawing/2014/main" id="{1AA165D0-3E43-314F-DF2A-93AB6C317674}"/>
                </a:ext>
              </a:extLst>
            </p:cNvPr>
            <p:cNvSpPr txBox="1">
              <a:spLocks/>
            </p:cNvSpPr>
            <p:nvPr/>
          </p:nvSpPr>
          <p:spPr>
            <a:xfrm>
              <a:off x="402028" y="744043"/>
              <a:ext cx="5132967" cy="334584"/>
            </a:xfrm>
            <a:prstGeom prst="rect">
              <a:avLst/>
            </a:prstGeom>
            <a:noFill/>
          </p:spPr>
          <p:txBody>
            <a:bodyPr/>
            <a:lstStyle>
              <a:lvl1pPr marL="228600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10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>
                  <a:ln>
                    <a:noFill/>
                  </a:ln>
                  <a:solidFill>
                    <a:srgbClr val="00B05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Phase II – Content and Collateral Refresh</a:t>
              </a:r>
            </a:p>
          </p:txBody>
        </p:sp>
        <p:cxnSp>
          <p:nvCxnSpPr>
            <p:cNvPr id="6" name="Straight Connector 5">
              <a:extLst>
                <a:ext uri="{FF2B5EF4-FFF2-40B4-BE49-F238E27FC236}">
                  <a16:creationId xmlns:a16="http://schemas.microsoft.com/office/drawing/2014/main" id="{54E9E5CD-3EBC-E523-8208-62D421FF5727}"/>
                </a:ext>
              </a:extLst>
            </p:cNvPr>
            <p:cNvCxnSpPr>
              <a:cxnSpLocks/>
            </p:cNvCxnSpPr>
            <p:nvPr/>
          </p:nvCxnSpPr>
          <p:spPr>
            <a:xfrm>
              <a:off x="401219" y="1245101"/>
              <a:ext cx="5435069" cy="0"/>
            </a:xfrm>
            <a:prstGeom prst="line">
              <a:avLst/>
            </a:prstGeom>
            <a:ln w="76200" cap="rnd">
              <a:solidFill>
                <a:srgbClr val="00B050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9" name="TextBox 8">
            <a:extLst>
              <a:ext uri="{FF2B5EF4-FFF2-40B4-BE49-F238E27FC236}">
                <a16:creationId xmlns:a16="http://schemas.microsoft.com/office/drawing/2014/main" id="{F4B86814-F4D8-70DF-A6EA-B4D55E78F2E5}"/>
              </a:ext>
            </a:extLst>
          </p:cNvPr>
          <p:cNvSpPr txBox="1"/>
          <p:nvPr/>
        </p:nvSpPr>
        <p:spPr>
          <a:xfrm>
            <a:off x="424869" y="1956781"/>
            <a:ext cx="11178552" cy="4401205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400"/>
              <a:t>Create a site map of existing pages</a:t>
            </a:r>
            <a:endParaRPr lang="en-US" sz="1400">
              <a:solidFill>
                <a:schemeClr val="tx2"/>
              </a:solidFill>
            </a:endParaRP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400"/>
              <a:t>Analyze key metrics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400"/>
              <a:t>Content audit</a:t>
            </a:r>
            <a:endParaRPr lang="en-US" sz="1400">
              <a:cs typeface="Arial"/>
            </a:endParaRP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400">
                <a:cs typeface="Arial"/>
              </a:rPr>
              <a:t>Agency recommendations</a:t>
            </a:r>
          </a:p>
          <a:p>
            <a:pPr>
              <a:spcBef>
                <a:spcPts val="600"/>
              </a:spcBef>
            </a:pPr>
            <a:endParaRPr lang="en-US" sz="1400">
              <a:cs typeface="Arial"/>
            </a:endParaRP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endParaRPr lang="en-US" sz="1400">
              <a:cs typeface="Arial"/>
            </a:endParaRP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endParaRPr lang="en-US" sz="1400">
              <a:cs typeface="Arial"/>
            </a:endParaRP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endParaRPr lang="en-US" sz="1400">
              <a:cs typeface="Arial"/>
            </a:endParaRP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400"/>
              <a:t>Work with each marketer to build / update their pages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endParaRPr lang="en-US" sz="1400"/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endParaRPr lang="en-US" sz="1400"/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endParaRPr lang="en-US" sz="1400"/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400"/>
              <a:t>Work with web development team to convert PPT wireframes and mockups into functional webpages.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endParaRPr lang="en-US" sz="1400"/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endParaRPr lang="en-US" sz="1400"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74861451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4BE880E-7B82-FD78-3DAE-CEEC598CC0E2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/>
              <a:t>Phase I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F196DD3-DF11-2BD7-3EB6-629D5F298C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>
                <a:cs typeface="Arial"/>
              </a:rPr>
              <a:t>Proposed site map workshopped in </a:t>
            </a:r>
            <a:r>
              <a:rPr lang="en-US">
                <a:cs typeface="Arial"/>
                <a:hlinkClick r:id="rId3"/>
              </a:rPr>
              <a:t>Octopus</a:t>
            </a:r>
            <a:endParaRPr lang="en-US">
              <a:cs typeface="Arial"/>
            </a:endParaRPr>
          </a:p>
        </p:txBody>
      </p:sp>
      <p:pic>
        <p:nvPicPr>
          <p:cNvPr id="7" name="Picture 6" descr="A screenshot of a video game&#10;&#10;Description automatically generated">
            <a:extLst>
              <a:ext uri="{FF2B5EF4-FFF2-40B4-BE49-F238E27FC236}">
                <a16:creationId xmlns:a16="http://schemas.microsoft.com/office/drawing/2014/main" id="{3D9D9990-5022-F2D7-F79F-99C5DCCD602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0" y="2253867"/>
            <a:ext cx="12192000" cy="23502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0691676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3554945E-7FBB-5C86-19EE-63BA76F4EBE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/>
              <a:t>Phase II 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529BFB13-9EFA-4661-86A3-6CD69ABF1A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Web refresh timeline</a:t>
            </a:r>
            <a:endParaRPr lang="en-US">
              <a:cs typeface="Arial"/>
            </a:endParaRPr>
          </a:p>
        </p:txBody>
      </p:sp>
      <p:cxnSp>
        <p:nvCxnSpPr>
          <p:cNvPr id="108" name="Straight Connector 107">
            <a:extLst>
              <a:ext uri="{FF2B5EF4-FFF2-40B4-BE49-F238E27FC236}">
                <a16:creationId xmlns:a16="http://schemas.microsoft.com/office/drawing/2014/main" id="{2CC16B65-AEEB-0922-0988-549C3FE013AD}"/>
              </a:ext>
            </a:extLst>
          </p:cNvPr>
          <p:cNvCxnSpPr>
            <a:cxnSpLocks/>
          </p:cNvCxnSpPr>
          <p:nvPr/>
        </p:nvCxnSpPr>
        <p:spPr>
          <a:xfrm>
            <a:off x="577049" y="2279583"/>
            <a:ext cx="10520038" cy="6037"/>
          </a:xfrm>
          <a:prstGeom prst="line">
            <a:avLst/>
          </a:prstGeom>
          <a:ln w="76200" cap="rnd">
            <a:solidFill>
              <a:srgbClr val="959CA0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3" name="Group 22">
            <a:extLst>
              <a:ext uri="{FF2B5EF4-FFF2-40B4-BE49-F238E27FC236}">
                <a16:creationId xmlns:a16="http://schemas.microsoft.com/office/drawing/2014/main" id="{2B34BE1B-EC43-4A0C-8F8B-5E322264CB57}"/>
              </a:ext>
            </a:extLst>
          </p:cNvPr>
          <p:cNvGrpSpPr/>
          <p:nvPr/>
        </p:nvGrpSpPr>
        <p:grpSpPr>
          <a:xfrm>
            <a:off x="7746117" y="2195496"/>
            <a:ext cx="1294175" cy="1573136"/>
            <a:chOff x="7746117" y="2531164"/>
            <a:chExt cx="1294175" cy="1573136"/>
          </a:xfrm>
        </p:grpSpPr>
        <p:sp>
          <p:nvSpPr>
            <p:cNvPr id="112" name="Oval 111">
              <a:extLst>
                <a:ext uri="{FF2B5EF4-FFF2-40B4-BE49-F238E27FC236}">
                  <a16:creationId xmlns:a16="http://schemas.microsoft.com/office/drawing/2014/main" id="{CC8A7191-1653-FEE2-BC6F-05D1D1F88A4B}"/>
                </a:ext>
              </a:extLst>
            </p:cNvPr>
            <p:cNvSpPr/>
            <p:nvPr/>
          </p:nvSpPr>
          <p:spPr>
            <a:xfrm>
              <a:off x="7977786" y="2531164"/>
              <a:ext cx="178314" cy="178314"/>
            </a:xfrm>
            <a:prstGeom prst="ellipse">
              <a:avLst/>
            </a:prstGeom>
            <a:solidFill>
              <a:schemeClr val="accent1"/>
            </a:solidFill>
            <a:ln w="762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+mj-lt"/>
              </a:endParaRPr>
            </a:p>
          </p:txBody>
        </p:sp>
        <p:sp>
          <p:nvSpPr>
            <p:cNvPr id="113" name="TextBox 112">
              <a:extLst>
                <a:ext uri="{FF2B5EF4-FFF2-40B4-BE49-F238E27FC236}">
                  <a16:creationId xmlns:a16="http://schemas.microsoft.com/office/drawing/2014/main" id="{CFC5CF37-886B-612E-09DC-1D29C980D734}"/>
                </a:ext>
              </a:extLst>
            </p:cNvPr>
            <p:cNvSpPr txBox="1"/>
            <p:nvPr/>
          </p:nvSpPr>
          <p:spPr>
            <a:xfrm>
              <a:off x="7746117" y="3331606"/>
              <a:ext cx="1294175" cy="772694"/>
            </a:xfrm>
            <a:prstGeom prst="rect">
              <a:avLst/>
            </a:prstGeom>
            <a:ln>
              <a:noFill/>
            </a:ln>
          </p:spPr>
          <p:txBody>
            <a:bodyPr vert="horz" wrap="square" lIns="0" tIns="0" rIns="0" bIns="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lvl="0" fontAlgn="base">
                <a:spcAft>
                  <a:spcPts val="600"/>
                </a:spcAft>
                <a:defRPr/>
              </a:pPr>
              <a:r>
                <a:rPr lang="en-US" sz="1200" b="1">
                  <a:solidFill>
                    <a:srgbClr val="5A5B5B"/>
                  </a:solidFill>
                  <a:latin typeface="Arial"/>
                  <a:cs typeface="Arial"/>
                </a:rPr>
                <a:t>Katherine reviews content</a:t>
              </a:r>
            </a:p>
            <a:p>
              <a:pPr marL="171450" lvl="0" indent="-171450" fontAlgn="base">
                <a:spcAft>
                  <a:spcPts val="600"/>
                </a:spcAft>
                <a:buFont typeface="Arial" panose="020B0604020202020204" pitchFamily="34" charset="0"/>
                <a:buChar char="•"/>
                <a:defRPr/>
              </a:pPr>
              <a:endParaRPr lang="en-US" sz="1100">
                <a:solidFill>
                  <a:srgbClr val="5A5B5B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D84B0A40-EF55-E814-526F-A9AC224AFBE2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072638" y="2619830"/>
              <a:ext cx="0" cy="483128"/>
            </a:xfrm>
            <a:prstGeom prst="line">
              <a:avLst/>
            </a:prstGeom>
            <a:ln w="38100">
              <a:solidFill>
                <a:schemeClr val="accent1"/>
              </a:solidFill>
              <a:head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1" name="Group 20">
            <a:extLst>
              <a:ext uri="{FF2B5EF4-FFF2-40B4-BE49-F238E27FC236}">
                <a16:creationId xmlns:a16="http://schemas.microsoft.com/office/drawing/2014/main" id="{AD55898A-F3EF-C5CD-0F8A-063D1DED8D4F}"/>
              </a:ext>
            </a:extLst>
          </p:cNvPr>
          <p:cNvGrpSpPr/>
          <p:nvPr/>
        </p:nvGrpSpPr>
        <p:grpSpPr>
          <a:xfrm>
            <a:off x="2551043" y="1801671"/>
            <a:ext cx="2260436" cy="1992880"/>
            <a:chOff x="2551043" y="2137339"/>
            <a:chExt cx="2260436" cy="1992880"/>
          </a:xfrm>
        </p:grpSpPr>
        <p:sp>
          <p:nvSpPr>
            <p:cNvPr id="109" name="TextBox 108">
              <a:extLst>
                <a:ext uri="{FF2B5EF4-FFF2-40B4-BE49-F238E27FC236}">
                  <a16:creationId xmlns:a16="http://schemas.microsoft.com/office/drawing/2014/main" id="{FF8072CF-1491-6C22-2F77-E6944F49E697}"/>
                </a:ext>
              </a:extLst>
            </p:cNvPr>
            <p:cNvSpPr txBox="1"/>
            <p:nvPr/>
          </p:nvSpPr>
          <p:spPr>
            <a:xfrm>
              <a:off x="2551043" y="2137339"/>
              <a:ext cx="2260436" cy="307777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t">
              <a:spAutoFit/>
            </a:bodyPr>
            <a:lstStyle/>
            <a:p>
              <a:pPr algn="ctr"/>
              <a:r>
                <a:rPr lang="en-US" sz="1400" b="1">
                  <a:solidFill>
                    <a:schemeClr val="accent1"/>
                  </a:solidFill>
                  <a:latin typeface="+mj-lt"/>
                </a:rPr>
                <a:t>March</a:t>
              </a:r>
              <a:endParaRPr lang="en-US">
                <a:solidFill>
                  <a:schemeClr val="accent1"/>
                </a:solidFill>
              </a:endParaRPr>
            </a:p>
          </p:txBody>
        </p:sp>
        <p:sp>
          <p:nvSpPr>
            <p:cNvPr id="110" name="Oval 109">
              <a:extLst>
                <a:ext uri="{FF2B5EF4-FFF2-40B4-BE49-F238E27FC236}">
                  <a16:creationId xmlns:a16="http://schemas.microsoft.com/office/drawing/2014/main" id="{D78CC7DB-A0CB-C0E9-F513-F192CE7B6842}"/>
                </a:ext>
              </a:extLst>
            </p:cNvPr>
            <p:cNvSpPr/>
            <p:nvPr/>
          </p:nvSpPr>
          <p:spPr>
            <a:xfrm>
              <a:off x="3541141" y="2531164"/>
              <a:ext cx="178314" cy="178314"/>
            </a:xfrm>
            <a:prstGeom prst="ellipse">
              <a:avLst/>
            </a:prstGeom>
            <a:solidFill>
              <a:schemeClr val="accent1"/>
            </a:solidFill>
            <a:ln w="762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+mj-lt"/>
              </a:endParaRPr>
            </a:p>
          </p:txBody>
        </p: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5D26E723-F01C-954C-FF0D-B678EFDD00D6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3625467" y="2619830"/>
              <a:ext cx="0" cy="483128"/>
            </a:xfrm>
            <a:prstGeom prst="line">
              <a:avLst/>
            </a:prstGeom>
            <a:ln w="38100">
              <a:solidFill>
                <a:schemeClr val="accent1"/>
              </a:solidFill>
              <a:head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07" name="TextBox 106">
              <a:extLst>
                <a:ext uri="{FF2B5EF4-FFF2-40B4-BE49-F238E27FC236}">
                  <a16:creationId xmlns:a16="http://schemas.microsoft.com/office/drawing/2014/main" id="{BF92D4C5-0F35-A8F5-F219-381A922015CC}"/>
                </a:ext>
              </a:extLst>
            </p:cNvPr>
            <p:cNvSpPr txBox="1"/>
            <p:nvPr/>
          </p:nvSpPr>
          <p:spPr>
            <a:xfrm>
              <a:off x="3133433" y="3357526"/>
              <a:ext cx="1390324" cy="772693"/>
            </a:xfrm>
            <a:prstGeom prst="rect">
              <a:avLst/>
            </a:prstGeom>
            <a:ln>
              <a:noFill/>
            </a:ln>
          </p:spPr>
          <p:txBody>
            <a:bodyPr vert="horz" wrap="square" lIns="0" tIns="0" rIns="0" bIns="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fontAlgn="base">
                <a:spcAft>
                  <a:spcPts val="600"/>
                </a:spcAft>
                <a:defRPr/>
              </a:pPr>
              <a:r>
                <a:rPr lang="en-US" sz="1200" b="1">
                  <a:solidFill>
                    <a:srgbClr val="5A5B5B"/>
                  </a:solidFill>
                  <a:latin typeface="Arial"/>
                  <a:cs typeface="Arial"/>
                </a:rPr>
                <a:t>Marketers to work on updating the content, identifying collateral and art</a:t>
              </a:r>
            </a:p>
          </p:txBody>
        </p:sp>
      </p:grpSp>
      <p:grpSp>
        <p:nvGrpSpPr>
          <p:cNvPr id="22" name="Group 21">
            <a:extLst>
              <a:ext uri="{FF2B5EF4-FFF2-40B4-BE49-F238E27FC236}">
                <a16:creationId xmlns:a16="http://schemas.microsoft.com/office/drawing/2014/main" id="{EF37F18A-E742-2E5E-FDF4-00EC349EE499}"/>
              </a:ext>
            </a:extLst>
          </p:cNvPr>
          <p:cNvGrpSpPr/>
          <p:nvPr/>
        </p:nvGrpSpPr>
        <p:grpSpPr>
          <a:xfrm>
            <a:off x="4811479" y="1790194"/>
            <a:ext cx="1967551" cy="1978438"/>
            <a:chOff x="4811479" y="2125862"/>
            <a:chExt cx="1967551" cy="1978438"/>
          </a:xfrm>
        </p:grpSpPr>
        <p:sp>
          <p:nvSpPr>
            <p:cNvPr id="114" name="TextBox 113">
              <a:extLst>
                <a:ext uri="{FF2B5EF4-FFF2-40B4-BE49-F238E27FC236}">
                  <a16:creationId xmlns:a16="http://schemas.microsoft.com/office/drawing/2014/main" id="{7C1592CF-EDF8-DC0A-8CD8-F42932E5545A}"/>
                </a:ext>
              </a:extLst>
            </p:cNvPr>
            <p:cNvSpPr txBox="1"/>
            <p:nvPr/>
          </p:nvSpPr>
          <p:spPr>
            <a:xfrm>
              <a:off x="4811479" y="2125862"/>
              <a:ext cx="1731360" cy="307777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t">
              <a:spAutoFit/>
            </a:bodyPr>
            <a:lstStyle/>
            <a:p>
              <a:pPr algn="ctr"/>
              <a:r>
                <a:rPr lang="en-US" sz="1400" b="1">
                  <a:solidFill>
                    <a:schemeClr val="accent1"/>
                  </a:solidFill>
                  <a:latin typeface="+mj-lt"/>
                </a:rPr>
                <a:t>4 April</a:t>
              </a:r>
              <a:endParaRPr lang="en-US"/>
            </a:p>
          </p:txBody>
        </p:sp>
        <p:sp>
          <p:nvSpPr>
            <p:cNvPr id="115" name="Oval 114">
              <a:extLst>
                <a:ext uri="{FF2B5EF4-FFF2-40B4-BE49-F238E27FC236}">
                  <a16:creationId xmlns:a16="http://schemas.microsoft.com/office/drawing/2014/main" id="{D5637FB6-9829-9D29-B03C-BD8B6B2F7218}"/>
                </a:ext>
              </a:extLst>
            </p:cNvPr>
            <p:cNvSpPr/>
            <p:nvPr/>
          </p:nvSpPr>
          <p:spPr>
            <a:xfrm>
              <a:off x="5660360" y="2531164"/>
              <a:ext cx="178314" cy="178314"/>
            </a:xfrm>
            <a:prstGeom prst="ellipse">
              <a:avLst/>
            </a:prstGeom>
            <a:solidFill>
              <a:schemeClr val="accent1"/>
            </a:solidFill>
            <a:ln w="762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+mj-lt"/>
              </a:endParaRPr>
            </a:p>
          </p:txBody>
        </p:sp>
        <p:sp>
          <p:nvSpPr>
            <p:cNvPr id="116" name="TextBox 115">
              <a:extLst>
                <a:ext uri="{FF2B5EF4-FFF2-40B4-BE49-F238E27FC236}">
                  <a16:creationId xmlns:a16="http://schemas.microsoft.com/office/drawing/2014/main" id="{7D59E2E7-87B1-4A18-B882-FAEB20775506}"/>
                </a:ext>
              </a:extLst>
            </p:cNvPr>
            <p:cNvSpPr txBox="1"/>
            <p:nvPr/>
          </p:nvSpPr>
          <p:spPr>
            <a:xfrm>
              <a:off x="5394311" y="3331606"/>
              <a:ext cx="1384719" cy="772694"/>
            </a:xfrm>
            <a:prstGeom prst="rect">
              <a:avLst/>
            </a:prstGeom>
            <a:ln>
              <a:noFill/>
            </a:ln>
          </p:spPr>
          <p:txBody>
            <a:bodyPr vert="horz" wrap="square" lIns="0" tIns="0" rIns="0" bIns="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fontAlgn="base">
                <a:spcAft>
                  <a:spcPts val="600"/>
                </a:spcAft>
                <a:defRPr/>
              </a:pPr>
              <a:r>
                <a:rPr lang="en-US" sz="1200" b="1">
                  <a:solidFill>
                    <a:srgbClr val="5A5B5B"/>
                  </a:solidFill>
                  <a:latin typeface="Arial"/>
                  <a:cs typeface="Arial"/>
                </a:rPr>
                <a:t>Content is due from marketers</a:t>
              </a:r>
            </a:p>
          </p:txBody>
        </p: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3F295B60-BC6A-1698-6175-88582EB25979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742045" y="2619829"/>
              <a:ext cx="0" cy="483128"/>
            </a:xfrm>
            <a:prstGeom prst="line">
              <a:avLst/>
            </a:prstGeom>
            <a:ln w="38100">
              <a:solidFill>
                <a:schemeClr val="accent1"/>
              </a:solidFill>
              <a:head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9CC56136-9606-7DAA-3232-F78A7D6481E2}"/>
              </a:ext>
            </a:extLst>
          </p:cNvPr>
          <p:cNvSpPr txBox="1"/>
          <p:nvPr/>
        </p:nvSpPr>
        <p:spPr>
          <a:xfrm>
            <a:off x="9180917" y="1769593"/>
            <a:ext cx="2361462" cy="307777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/>
            <a:r>
              <a:rPr lang="en-US" sz="1400" b="1">
                <a:solidFill>
                  <a:schemeClr val="accent1"/>
                </a:solidFill>
                <a:latin typeface="+mj-lt"/>
              </a:rPr>
              <a:t>5 May</a:t>
            </a:r>
            <a:endParaRPr lang="en-US">
              <a:solidFill>
                <a:schemeClr val="accent1"/>
              </a:solidFill>
            </a:endParaRPr>
          </a:p>
        </p:txBody>
      </p:sp>
      <p:sp>
        <p:nvSpPr>
          <p:cNvPr id="4" name="Oval 3">
            <a:extLst>
              <a:ext uri="{FF2B5EF4-FFF2-40B4-BE49-F238E27FC236}">
                <a16:creationId xmlns:a16="http://schemas.microsoft.com/office/drawing/2014/main" id="{BCA8FE32-9E36-FBCF-25BC-E2C18F6E4A75}"/>
              </a:ext>
            </a:extLst>
          </p:cNvPr>
          <p:cNvSpPr/>
          <p:nvPr/>
        </p:nvSpPr>
        <p:spPr>
          <a:xfrm>
            <a:off x="10239045" y="2191428"/>
            <a:ext cx="178314" cy="178314"/>
          </a:xfrm>
          <a:prstGeom prst="ellipse">
            <a:avLst/>
          </a:prstGeom>
          <a:solidFill>
            <a:schemeClr val="accent1"/>
          </a:solidFill>
          <a:ln w="762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4A4DA5F0-79FF-90D6-E160-803C2DB83D2C}"/>
              </a:ext>
            </a:extLst>
          </p:cNvPr>
          <p:cNvSpPr txBox="1"/>
          <p:nvPr/>
        </p:nvSpPr>
        <p:spPr>
          <a:xfrm>
            <a:off x="10007376" y="2991870"/>
            <a:ext cx="1353975" cy="772694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fontAlgn="base">
              <a:spcAft>
                <a:spcPts val="600"/>
              </a:spcAft>
              <a:defRPr/>
            </a:pPr>
            <a:r>
              <a:rPr lang="en-US" sz="1200" b="1">
                <a:solidFill>
                  <a:srgbClr val="5A5B5B"/>
                </a:solidFill>
                <a:latin typeface="Arial"/>
                <a:cs typeface="Arial"/>
              </a:rPr>
              <a:t>Marketer refinement &amp; final copy, art and collateral ready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A334C85A-77DD-F3D5-A8C9-2DE8C5B2443E}"/>
              </a:ext>
            </a:extLst>
          </p:cNvPr>
          <p:cNvCxnSpPr>
            <a:cxnSpLocks/>
          </p:cNvCxnSpPr>
          <p:nvPr/>
        </p:nvCxnSpPr>
        <p:spPr>
          <a:xfrm flipV="1">
            <a:off x="10333897" y="2280094"/>
            <a:ext cx="0" cy="483128"/>
          </a:xfrm>
          <a:prstGeom prst="line">
            <a:avLst/>
          </a:prstGeom>
          <a:ln w="38100">
            <a:solidFill>
              <a:schemeClr val="accent1"/>
            </a:solidFill>
            <a:head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0" name="Group 19">
            <a:extLst>
              <a:ext uri="{FF2B5EF4-FFF2-40B4-BE49-F238E27FC236}">
                <a16:creationId xmlns:a16="http://schemas.microsoft.com/office/drawing/2014/main" id="{AB0F2776-2DD6-CDD1-6B59-24A324F0EE5D}"/>
              </a:ext>
            </a:extLst>
          </p:cNvPr>
          <p:cNvGrpSpPr/>
          <p:nvPr/>
        </p:nvGrpSpPr>
        <p:grpSpPr>
          <a:xfrm>
            <a:off x="558802" y="1768448"/>
            <a:ext cx="1662164" cy="3204731"/>
            <a:chOff x="558802" y="2104116"/>
            <a:chExt cx="1662164" cy="3204731"/>
          </a:xfrm>
        </p:grpSpPr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C75D9CD6-98BE-1376-77A9-6F827B4270B0}"/>
                </a:ext>
              </a:extLst>
            </p:cNvPr>
            <p:cNvSpPr txBox="1"/>
            <p:nvPr/>
          </p:nvSpPr>
          <p:spPr>
            <a:xfrm>
              <a:off x="558802" y="2104116"/>
              <a:ext cx="1583388" cy="307777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t">
              <a:spAutoFit/>
            </a:bodyPr>
            <a:lstStyle/>
            <a:p>
              <a:pPr algn="ctr"/>
              <a:r>
                <a:rPr lang="en-US" sz="1400" b="1">
                  <a:solidFill>
                    <a:schemeClr val="accent1"/>
                  </a:solidFill>
                  <a:latin typeface="+mj-lt"/>
                </a:rPr>
                <a:t>15 January</a:t>
              </a:r>
              <a:endParaRPr lang="en-US"/>
            </a:p>
          </p:txBody>
        </p:sp>
        <p:sp>
          <p:nvSpPr>
            <p:cNvPr id="13" name="Oval 12">
              <a:extLst>
                <a:ext uri="{FF2B5EF4-FFF2-40B4-BE49-F238E27FC236}">
                  <a16:creationId xmlns:a16="http://schemas.microsoft.com/office/drawing/2014/main" id="{73D2EE4A-A66B-3348-F8C7-9003BE13CCEA}"/>
                </a:ext>
              </a:extLst>
            </p:cNvPr>
            <p:cNvSpPr/>
            <p:nvPr/>
          </p:nvSpPr>
          <p:spPr>
            <a:xfrm>
              <a:off x="1238350" y="2526585"/>
              <a:ext cx="178314" cy="178314"/>
            </a:xfrm>
            <a:prstGeom prst="ellipse">
              <a:avLst/>
            </a:prstGeom>
            <a:solidFill>
              <a:schemeClr val="accent1"/>
            </a:solidFill>
            <a:ln w="762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+mj-lt"/>
              </a:endParaRPr>
            </a:p>
          </p:txBody>
        </p:sp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043D044B-1886-DBD5-A9B6-A01EE32C2DBB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322676" y="2615251"/>
              <a:ext cx="0" cy="483128"/>
            </a:xfrm>
            <a:prstGeom prst="line">
              <a:avLst/>
            </a:prstGeom>
            <a:ln w="38100">
              <a:solidFill>
                <a:schemeClr val="accent1"/>
              </a:solidFill>
              <a:head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24F6E52C-DAAF-E1D9-9D8F-7451476DEAF9}"/>
                </a:ext>
              </a:extLst>
            </p:cNvPr>
            <p:cNvSpPr txBox="1"/>
            <p:nvPr/>
          </p:nvSpPr>
          <p:spPr>
            <a:xfrm>
              <a:off x="830642" y="3352947"/>
              <a:ext cx="1390324" cy="1955900"/>
            </a:xfrm>
            <a:prstGeom prst="rect">
              <a:avLst/>
            </a:prstGeom>
            <a:ln>
              <a:noFill/>
            </a:ln>
          </p:spPr>
          <p:txBody>
            <a:bodyPr vert="horz" wrap="square" lIns="0" tIns="0" rIns="0" bIns="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lvl="0" fontAlgn="base">
                <a:spcAft>
                  <a:spcPts val="600"/>
                </a:spcAft>
                <a:defRPr/>
              </a:pPr>
              <a:r>
                <a:rPr lang="en-US" sz="1200" b="1">
                  <a:solidFill>
                    <a:srgbClr val="5A5B5B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Meet with marketers to review plan and what is required of them</a:t>
              </a:r>
            </a:p>
          </p:txBody>
        </p:sp>
      </p:grpSp>
      <p:sp>
        <p:nvSpPr>
          <p:cNvPr id="7" name="TextBox 6">
            <a:extLst>
              <a:ext uri="{FF2B5EF4-FFF2-40B4-BE49-F238E27FC236}">
                <a16:creationId xmlns:a16="http://schemas.microsoft.com/office/drawing/2014/main" id="{2F2C2519-FD9D-2E56-7A9E-5CC49D84DCD9}"/>
              </a:ext>
            </a:extLst>
          </p:cNvPr>
          <p:cNvSpPr txBox="1"/>
          <p:nvPr/>
        </p:nvSpPr>
        <p:spPr>
          <a:xfrm>
            <a:off x="7201263" y="1806090"/>
            <a:ext cx="1731360" cy="307777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/>
            <a:r>
              <a:rPr lang="en-US" sz="1400" b="1">
                <a:solidFill>
                  <a:schemeClr val="accent1"/>
                </a:solidFill>
                <a:latin typeface="+mj-lt"/>
              </a:rPr>
              <a:t>11 April</a:t>
            </a:r>
            <a:endParaRPr lang="en-US"/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72772D3C-2892-8A9B-0A2E-C79401B5C78E}"/>
              </a:ext>
            </a:extLst>
          </p:cNvPr>
          <p:cNvCxnSpPr>
            <a:cxnSpLocks/>
          </p:cNvCxnSpPr>
          <p:nvPr/>
        </p:nvCxnSpPr>
        <p:spPr>
          <a:xfrm>
            <a:off x="502965" y="4724332"/>
            <a:ext cx="10520038" cy="6037"/>
          </a:xfrm>
          <a:prstGeom prst="line">
            <a:avLst/>
          </a:prstGeom>
          <a:ln w="76200" cap="rnd">
            <a:solidFill>
              <a:srgbClr val="959CA0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8" name="Group 17">
            <a:extLst>
              <a:ext uri="{FF2B5EF4-FFF2-40B4-BE49-F238E27FC236}">
                <a16:creationId xmlns:a16="http://schemas.microsoft.com/office/drawing/2014/main" id="{190235BB-7EA4-2EF3-707E-BC84728B8C3F}"/>
              </a:ext>
            </a:extLst>
          </p:cNvPr>
          <p:cNvGrpSpPr/>
          <p:nvPr/>
        </p:nvGrpSpPr>
        <p:grpSpPr>
          <a:xfrm>
            <a:off x="6688182" y="4640245"/>
            <a:ext cx="1294175" cy="1573136"/>
            <a:chOff x="7746117" y="2531164"/>
            <a:chExt cx="1294175" cy="1573136"/>
          </a:xfrm>
        </p:grpSpPr>
        <p:sp>
          <p:nvSpPr>
            <p:cNvPr id="19" name="Oval 18">
              <a:extLst>
                <a:ext uri="{FF2B5EF4-FFF2-40B4-BE49-F238E27FC236}">
                  <a16:creationId xmlns:a16="http://schemas.microsoft.com/office/drawing/2014/main" id="{B0D2CFB3-A066-144F-AF41-B97D9329717B}"/>
                </a:ext>
              </a:extLst>
            </p:cNvPr>
            <p:cNvSpPr/>
            <p:nvPr/>
          </p:nvSpPr>
          <p:spPr>
            <a:xfrm>
              <a:off x="7977786" y="2531164"/>
              <a:ext cx="178314" cy="178314"/>
            </a:xfrm>
            <a:prstGeom prst="ellipse">
              <a:avLst/>
            </a:prstGeom>
            <a:solidFill>
              <a:schemeClr val="accent1"/>
            </a:solidFill>
            <a:ln w="762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+mj-lt"/>
              </a:endParaRPr>
            </a:p>
          </p:txBody>
        </p:sp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95C37DD4-8C69-C439-39B0-A956E8CDF963}"/>
                </a:ext>
              </a:extLst>
            </p:cNvPr>
            <p:cNvSpPr txBox="1"/>
            <p:nvPr/>
          </p:nvSpPr>
          <p:spPr>
            <a:xfrm>
              <a:off x="7746117" y="3331606"/>
              <a:ext cx="1294175" cy="772694"/>
            </a:xfrm>
            <a:prstGeom prst="rect">
              <a:avLst/>
            </a:prstGeom>
            <a:ln>
              <a:noFill/>
            </a:ln>
          </p:spPr>
          <p:txBody>
            <a:bodyPr vert="horz" wrap="square" lIns="0" tIns="0" rIns="0" bIns="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fontAlgn="base">
                <a:spcAft>
                  <a:spcPts val="600"/>
                </a:spcAft>
                <a:defRPr/>
              </a:pPr>
              <a:r>
                <a:rPr lang="en-US" sz="1200" b="1">
                  <a:solidFill>
                    <a:srgbClr val="5A5B5B"/>
                  </a:solidFill>
                  <a:latin typeface="Arial"/>
                  <a:cs typeface="Arial"/>
                </a:rPr>
                <a:t>Marketers review, edit, and approve staging link</a:t>
              </a:r>
            </a:p>
            <a:p>
              <a:pPr marL="171450" lvl="0" indent="-171450" fontAlgn="base">
                <a:spcAft>
                  <a:spcPts val="600"/>
                </a:spcAft>
                <a:buFont typeface="Arial" panose="020B0604020202020204" pitchFamily="34" charset="0"/>
                <a:buChar char="•"/>
                <a:defRPr/>
              </a:pPr>
              <a:endParaRPr lang="en-US" sz="1100">
                <a:solidFill>
                  <a:srgbClr val="5A5B5B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E39F44CB-72A2-DBFC-50CE-06E6AE658252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072638" y="2619830"/>
              <a:ext cx="0" cy="483128"/>
            </a:xfrm>
            <a:prstGeom prst="line">
              <a:avLst/>
            </a:prstGeom>
            <a:ln w="38100">
              <a:solidFill>
                <a:schemeClr val="accent1"/>
              </a:solidFill>
              <a:head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6" name="Group 25">
            <a:extLst>
              <a:ext uri="{FF2B5EF4-FFF2-40B4-BE49-F238E27FC236}">
                <a16:creationId xmlns:a16="http://schemas.microsoft.com/office/drawing/2014/main" id="{047ACE5A-2988-52F0-80D9-7AFD6779DB64}"/>
              </a:ext>
            </a:extLst>
          </p:cNvPr>
          <p:cNvGrpSpPr/>
          <p:nvPr/>
        </p:nvGrpSpPr>
        <p:grpSpPr>
          <a:xfrm>
            <a:off x="1747753" y="4246420"/>
            <a:ext cx="2260436" cy="1992880"/>
            <a:chOff x="2551043" y="2137339"/>
            <a:chExt cx="2260436" cy="1992880"/>
          </a:xfrm>
        </p:grpSpPr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05E4806E-905F-69F8-B709-B20CF6425028}"/>
                </a:ext>
              </a:extLst>
            </p:cNvPr>
            <p:cNvSpPr txBox="1"/>
            <p:nvPr/>
          </p:nvSpPr>
          <p:spPr>
            <a:xfrm>
              <a:off x="2551043" y="2137339"/>
              <a:ext cx="2260436" cy="307777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t">
              <a:spAutoFit/>
            </a:bodyPr>
            <a:lstStyle/>
            <a:p>
              <a:pPr algn="ctr"/>
              <a:r>
                <a:rPr lang="en-US" sz="1400" b="1">
                  <a:solidFill>
                    <a:schemeClr val="accent1"/>
                  </a:solidFill>
                  <a:latin typeface="+mj-lt"/>
                  <a:cs typeface="Arial"/>
                </a:rPr>
                <a:t>8 - 21 May</a:t>
              </a:r>
              <a:endParaRPr lang="en-US">
                <a:solidFill>
                  <a:schemeClr val="accent1"/>
                </a:solidFill>
                <a:cs typeface="Arial" panose="020B0604020202020204"/>
              </a:endParaRPr>
            </a:p>
          </p:txBody>
        </p:sp>
        <p:sp>
          <p:nvSpPr>
            <p:cNvPr id="28" name="Oval 27">
              <a:extLst>
                <a:ext uri="{FF2B5EF4-FFF2-40B4-BE49-F238E27FC236}">
                  <a16:creationId xmlns:a16="http://schemas.microsoft.com/office/drawing/2014/main" id="{D55DD8FD-26DE-735C-F110-1677B65BB7E2}"/>
                </a:ext>
              </a:extLst>
            </p:cNvPr>
            <p:cNvSpPr/>
            <p:nvPr/>
          </p:nvSpPr>
          <p:spPr>
            <a:xfrm>
              <a:off x="3541141" y="2531164"/>
              <a:ext cx="178314" cy="178314"/>
            </a:xfrm>
            <a:prstGeom prst="ellipse">
              <a:avLst/>
            </a:prstGeom>
            <a:solidFill>
              <a:schemeClr val="accent1"/>
            </a:solidFill>
            <a:ln w="762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+mj-lt"/>
              </a:endParaRPr>
            </a:p>
          </p:txBody>
        </p:sp>
        <p:cxnSp>
          <p:nvCxnSpPr>
            <p:cNvPr id="29" name="Straight Connector 28">
              <a:extLst>
                <a:ext uri="{FF2B5EF4-FFF2-40B4-BE49-F238E27FC236}">
                  <a16:creationId xmlns:a16="http://schemas.microsoft.com/office/drawing/2014/main" id="{EA16F45E-D3E9-C75F-87F2-A131B1C78E8E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3625467" y="2619830"/>
              <a:ext cx="0" cy="483128"/>
            </a:xfrm>
            <a:prstGeom prst="line">
              <a:avLst/>
            </a:prstGeom>
            <a:ln w="38100">
              <a:solidFill>
                <a:schemeClr val="accent1"/>
              </a:solidFill>
              <a:head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0" name="TextBox 29">
              <a:extLst>
                <a:ext uri="{FF2B5EF4-FFF2-40B4-BE49-F238E27FC236}">
                  <a16:creationId xmlns:a16="http://schemas.microsoft.com/office/drawing/2014/main" id="{D154A82A-F581-4559-8592-B0F106B8A63A}"/>
                </a:ext>
              </a:extLst>
            </p:cNvPr>
            <p:cNvSpPr txBox="1"/>
            <p:nvPr/>
          </p:nvSpPr>
          <p:spPr>
            <a:xfrm>
              <a:off x="3133433" y="3357526"/>
              <a:ext cx="1390324" cy="772693"/>
            </a:xfrm>
            <a:prstGeom prst="rect">
              <a:avLst/>
            </a:prstGeom>
            <a:ln>
              <a:noFill/>
            </a:ln>
          </p:spPr>
          <p:txBody>
            <a:bodyPr vert="horz" wrap="square" lIns="0" tIns="0" rIns="0" bIns="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fontAlgn="base">
                <a:spcAft>
                  <a:spcPts val="600"/>
                </a:spcAft>
                <a:defRPr/>
              </a:pPr>
              <a:r>
                <a:rPr lang="en-US" sz="1200" b="1">
                  <a:solidFill>
                    <a:srgbClr val="5A5B5B"/>
                  </a:solidFill>
                  <a:latin typeface="Arial"/>
                  <a:cs typeface="Arial"/>
                </a:rPr>
                <a:t>Offshore team applies updates</a:t>
              </a:r>
            </a:p>
          </p:txBody>
        </p:sp>
      </p:grpSp>
      <p:grpSp>
        <p:nvGrpSpPr>
          <p:cNvPr id="31" name="Group 30">
            <a:extLst>
              <a:ext uri="{FF2B5EF4-FFF2-40B4-BE49-F238E27FC236}">
                <a16:creationId xmlns:a16="http://schemas.microsoft.com/office/drawing/2014/main" id="{3F9B998D-994F-C766-D5E3-86BEE8E2F76A}"/>
              </a:ext>
            </a:extLst>
          </p:cNvPr>
          <p:cNvGrpSpPr/>
          <p:nvPr/>
        </p:nvGrpSpPr>
        <p:grpSpPr>
          <a:xfrm>
            <a:off x="4008189" y="4234943"/>
            <a:ext cx="1967551" cy="1978438"/>
            <a:chOff x="4811479" y="2125862"/>
            <a:chExt cx="1967551" cy="1978438"/>
          </a:xfrm>
        </p:grpSpPr>
        <p:sp>
          <p:nvSpPr>
            <p:cNvPr id="32" name="TextBox 31">
              <a:extLst>
                <a:ext uri="{FF2B5EF4-FFF2-40B4-BE49-F238E27FC236}">
                  <a16:creationId xmlns:a16="http://schemas.microsoft.com/office/drawing/2014/main" id="{0DFC13E1-6574-2C40-2225-2320F1EBA629}"/>
                </a:ext>
              </a:extLst>
            </p:cNvPr>
            <p:cNvSpPr txBox="1"/>
            <p:nvPr/>
          </p:nvSpPr>
          <p:spPr>
            <a:xfrm>
              <a:off x="4811479" y="2125862"/>
              <a:ext cx="1731360" cy="307777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t">
              <a:spAutoFit/>
            </a:bodyPr>
            <a:lstStyle/>
            <a:p>
              <a:pPr algn="ctr"/>
              <a:r>
                <a:rPr lang="en-US" sz="1400" b="1">
                  <a:solidFill>
                    <a:schemeClr val="accent1"/>
                  </a:solidFill>
                  <a:latin typeface="+mj-lt"/>
                </a:rPr>
                <a:t>21 – 30 May</a:t>
              </a:r>
              <a:endParaRPr lang="en-US">
                <a:solidFill>
                  <a:schemeClr val="accent1"/>
                </a:solidFill>
                <a:cs typeface="Arial" panose="020B0604020202020204"/>
              </a:endParaRPr>
            </a:p>
          </p:txBody>
        </p:sp>
        <p:sp>
          <p:nvSpPr>
            <p:cNvPr id="33" name="Oval 32">
              <a:extLst>
                <a:ext uri="{FF2B5EF4-FFF2-40B4-BE49-F238E27FC236}">
                  <a16:creationId xmlns:a16="http://schemas.microsoft.com/office/drawing/2014/main" id="{D58E0549-63C7-9202-E04C-25DDD6D7A084}"/>
                </a:ext>
              </a:extLst>
            </p:cNvPr>
            <p:cNvSpPr/>
            <p:nvPr/>
          </p:nvSpPr>
          <p:spPr>
            <a:xfrm>
              <a:off x="5660360" y="2531164"/>
              <a:ext cx="178314" cy="178314"/>
            </a:xfrm>
            <a:prstGeom prst="ellipse">
              <a:avLst/>
            </a:prstGeom>
            <a:solidFill>
              <a:schemeClr val="accent1"/>
            </a:solidFill>
            <a:ln w="762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+mj-lt"/>
              </a:endParaRPr>
            </a:p>
          </p:txBody>
        </p:sp>
        <p:sp>
          <p:nvSpPr>
            <p:cNvPr id="34" name="TextBox 33">
              <a:extLst>
                <a:ext uri="{FF2B5EF4-FFF2-40B4-BE49-F238E27FC236}">
                  <a16:creationId xmlns:a16="http://schemas.microsoft.com/office/drawing/2014/main" id="{24A7FE52-CB76-4DFC-FB4D-3DF57D61021E}"/>
                </a:ext>
              </a:extLst>
            </p:cNvPr>
            <p:cNvSpPr txBox="1"/>
            <p:nvPr/>
          </p:nvSpPr>
          <p:spPr>
            <a:xfrm>
              <a:off x="5394311" y="3331606"/>
              <a:ext cx="1384719" cy="772694"/>
            </a:xfrm>
            <a:prstGeom prst="rect">
              <a:avLst/>
            </a:prstGeom>
            <a:ln>
              <a:noFill/>
            </a:ln>
          </p:spPr>
          <p:txBody>
            <a:bodyPr vert="horz" wrap="square" lIns="0" tIns="0" rIns="0" bIns="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fontAlgn="base">
                <a:spcAft>
                  <a:spcPts val="600"/>
                </a:spcAft>
                <a:defRPr/>
              </a:pPr>
              <a:r>
                <a:rPr lang="en-US" sz="1200" b="1">
                  <a:solidFill>
                    <a:srgbClr val="5A5B5B"/>
                  </a:solidFill>
                  <a:latin typeface="Arial"/>
                  <a:cs typeface="Arial"/>
                </a:rPr>
                <a:t>Marketers initial review of staging link</a:t>
              </a:r>
            </a:p>
          </p:txBody>
        </p:sp>
        <p:cxnSp>
          <p:nvCxnSpPr>
            <p:cNvPr id="35" name="Straight Connector 34">
              <a:extLst>
                <a:ext uri="{FF2B5EF4-FFF2-40B4-BE49-F238E27FC236}">
                  <a16:creationId xmlns:a16="http://schemas.microsoft.com/office/drawing/2014/main" id="{CE837F28-82FD-A0BD-3D68-06D9578F2D44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742045" y="2619829"/>
              <a:ext cx="0" cy="483128"/>
            </a:xfrm>
            <a:prstGeom prst="line">
              <a:avLst/>
            </a:prstGeom>
            <a:ln w="38100">
              <a:solidFill>
                <a:schemeClr val="accent1"/>
              </a:solidFill>
              <a:head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7" name="TextBox 36">
            <a:extLst>
              <a:ext uri="{FF2B5EF4-FFF2-40B4-BE49-F238E27FC236}">
                <a16:creationId xmlns:a16="http://schemas.microsoft.com/office/drawing/2014/main" id="{34BDEE15-5542-F264-D1D7-F15E28D98CED}"/>
              </a:ext>
            </a:extLst>
          </p:cNvPr>
          <p:cNvSpPr txBox="1"/>
          <p:nvPr/>
        </p:nvSpPr>
        <p:spPr>
          <a:xfrm>
            <a:off x="7879911" y="4214342"/>
            <a:ext cx="2361462" cy="307777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/>
            <a:r>
              <a:rPr lang="en-US" sz="1400" b="1">
                <a:solidFill>
                  <a:schemeClr val="accent1"/>
                </a:solidFill>
                <a:latin typeface="+mj-lt"/>
              </a:rPr>
              <a:t>June</a:t>
            </a:r>
            <a:endParaRPr lang="en-US">
              <a:solidFill>
                <a:schemeClr val="accent1"/>
              </a:solidFill>
            </a:endParaRPr>
          </a:p>
        </p:txBody>
      </p:sp>
      <p:sp>
        <p:nvSpPr>
          <p:cNvPr id="38" name="Oval 37">
            <a:extLst>
              <a:ext uri="{FF2B5EF4-FFF2-40B4-BE49-F238E27FC236}">
                <a16:creationId xmlns:a16="http://schemas.microsoft.com/office/drawing/2014/main" id="{7DF8D7F0-876E-E526-E8C2-0493A407D25E}"/>
              </a:ext>
            </a:extLst>
          </p:cNvPr>
          <p:cNvSpPr/>
          <p:nvPr/>
        </p:nvSpPr>
        <p:spPr>
          <a:xfrm>
            <a:off x="8938039" y="4636177"/>
            <a:ext cx="178314" cy="178314"/>
          </a:xfrm>
          <a:prstGeom prst="ellipse">
            <a:avLst/>
          </a:prstGeom>
          <a:solidFill>
            <a:schemeClr val="accent1"/>
          </a:solidFill>
          <a:ln w="762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</a:endParaRPr>
          </a:p>
        </p:txBody>
      </p:sp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id="{D3F6B3B7-4B02-1674-73B1-2B1A9D039268}"/>
              </a:ext>
            </a:extLst>
          </p:cNvPr>
          <p:cNvCxnSpPr>
            <a:cxnSpLocks/>
          </p:cNvCxnSpPr>
          <p:nvPr/>
        </p:nvCxnSpPr>
        <p:spPr>
          <a:xfrm flipV="1">
            <a:off x="9032891" y="4724843"/>
            <a:ext cx="0" cy="483128"/>
          </a:xfrm>
          <a:prstGeom prst="line">
            <a:avLst/>
          </a:prstGeom>
          <a:ln w="38100">
            <a:solidFill>
              <a:schemeClr val="accent1"/>
            </a:solidFill>
            <a:head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1" name="Group 40">
            <a:extLst>
              <a:ext uri="{FF2B5EF4-FFF2-40B4-BE49-F238E27FC236}">
                <a16:creationId xmlns:a16="http://schemas.microsoft.com/office/drawing/2014/main" id="{DEEF7DCB-46E5-AE11-96F6-26270152FFCE}"/>
              </a:ext>
            </a:extLst>
          </p:cNvPr>
          <p:cNvGrpSpPr/>
          <p:nvPr/>
        </p:nvGrpSpPr>
        <p:grpSpPr>
          <a:xfrm>
            <a:off x="484718" y="4213197"/>
            <a:ext cx="1662164" cy="3204731"/>
            <a:chOff x="558802" y="2104116"/>
            <a:chExt cx="1662164" cy="3204731"/>
          </a:xfrm>
        </p:grpSpPr>
        <p:sp>
          <p:nvSpPr>
            <p:cNvPr id="42" name="TextBox 41">
              <a:extLst>
                <a:ext uri="{FF2B5EF4-FFF2-40B4-BE49-F238E27FC236}">
                  <a16:creationId xmlns:a16="http://schemas.microsoft.com/office/drawing/2014/main" id="{4AEF8B59-A2DB-5821-ABB2-83A8A30D2C39}"/>
                </a:ext>
              </a:extLst>
            </p:cNvPr>
            <p:cNvSpPr txBox="1"/>
            <p:nvPr/>
          </p:nvSpPr>
          <p:spPr>
            <a:xfrm>
              <a:off x="558802" y="2104116"/>
              <a:ext cx="1583388" cy="307777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t">
              <a:spAutoFit/>
            </a:bodyPr>
            <a:lstStyle/>
            <a:p>
              <a:pPr algn="ctr"/>
              <a:r>
                <a:rPr lang="en-US" sz="1400" b="1">
                  <a:solidFill>
                    <a:schemeClr val="accent1"/>
                  </a:solidFill>
                  <a:cs typeface="Arial"/>
                </a:rPr>
                <a:t>7 May</a:t>
              </a:r>
            </a:p>
          </p:txBody>
        </p:sp>
        <p:sp>
          <p:nvSpPr>
            <p:cNvPr id="43" name="Oval 42">
              <a:extLst>
                <a:ext uri="{FF2B5EF4-FFF2-40B4-BE49-F238E27FC236}">
                  <a16:creationId xmlns:a16="http://schemas.microsoft.com/office/drawing/2014/main" id="{88216340-1DDC-1005-ECDA-CF35AFE0F078}"/>
                </a:ext>
              </a:extLst>
            </p:cNvPr>
            <p:cNvSpPr/>
            <p:nvPr/>
          </p:nvSpPr>
          <p:spPr>
            <a:xfrm>
              <a:off x="1238350" y="2526585"/>
              <a:ext cx="178314" cy="178314"/>
            </a:xfrm>
            <a:prstGeom prst="ellipse">
              <a:avLst/>
            </a:prstGeom>
            <a:solidFill>
              <a:schemeClr val="accent1"/>
            </a:solidFill>
            <a:ln w="762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+mj-lt"/>
              </a:endParaRPr>
            </a:p>
          </p:txBody>
        </p:sp>
        <p:cxnSp>
          <p:nvCxnSpPr>
            <p:cNvPr id="44" name="Straight Connector 43">
              <a:extLst>
                <a:ext uri="{FF2B5EF4-FFF2-40B4-BE49-F238E27FC236}">
                  <a16:creationId xmlns:a16="http://schemas.microsoft.com/office/drawing/2014/main" id="{F4AC0871-AA23-EF8E-F057-057B02421662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322676" y="2615251"/>
              <a:ext cx="0" cy="483128"/>
            </a:xfrm>
            <a:prstGeom prst="line">
              <a:avLst/>
            </a:prstGeom>
            <a:ln w="38100">
              <a:solidFill>
                <a:schemeClr val="accent1"/>
              </a:solidFill>
              <a:head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5" name="TextBox 44">
              <a:extLst>
                <a:ext uri="{FF2B5EF4-FFF2-40B4-BE49-F238E27FC236}">
                  <a16:creationId xmlns:a16="http://schemas.microsoft.com/office/drawing/2014/main" id="{9A58F029-BF0F-5B0A-1EC4-9FA2027F4677}"/>
                </a:ext>
              </a:extLst>
            </p:cNvPr>
            <p:cNvSpPr txBox="1"/>
            <p:nvPr/>
          </p:nvSpPr>
          <p:spPr>
            <a:xfrm>
              <a:off x="830642" y="3352947"/>
              <a:ext cx="1390324" cy="1955900"/>
            </a:xfrm>
            <a:prstGeom prst="rect">
              <a:avLst/>
            </a:prstGeom>
            <a:ln>
              <a:noFill/>
            </a:ln>
          </p:spPr>
          <p:txBody>
            <a:bodyPr vert="horz" wrap="square" lIns="0" tIns="0" rIns="0" bIns="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>
                <a:spcAft>
                  <a:spcPts val="600"/>
                </a:spcAft>
                <a:defRPr/>
              </a:pPr>
              <a:r>
                <a:rPr lang="en-US" sz="1200" b="1">
                  <a:solidFill>
                    <a:srgbClr val="5A5B5B"/>
                  </a:solidFill>
                  <a:latin typeface="Arial"/>
                  <a:cs typeface="Arial"/>
                </a:rPr>
                <a:t>Alexis submits ticket to offshore team</a:t>
              </a:r>
              <a:endParaRPr lang="en-US"/>
            </a:p>
          </p:txBody>
        </p:sp>
      </p:grpSp>
      <p:sp>
        <p:nvSpPr>
          <p:cNvPr id="46" name="TextBox 45">
            <a:extLst>
              <a:ext uri="{FF2B5EF4-FFF2-40B4-BE49-F238E27FC236}">
                <a16:creationId xmlns:a16="http://schemas.microsoft.com/office/drawing/2014/main" id="{6882702B-A4EA-6540-1A8C-052D077EF8D8}"/>
              </a:ext>
            </a:extLst>
          </p:cNvPr>
          <p:cNvSpPr txBox="1"/>
          <p:nvPr/>
        </p:nvSpPr>
        <p:spPr>
          <a:xfrm>
            <a:off x="6143328" y="4250839"/>
            <a:ext cx="1731360" cy="307777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/>
            <a:r>
              <a:rPr lang="en-US" sz="1400" b="1">
                <a:solidFill>
                  <a:schemeClr val="accent1"/>
                </a:solidFill>
                <a:latin typeface="+mj-lt"/>
              </a:rPr>
              <a:t>4 June</a:t>
            </a:r>
            <a:endParaRPr lang="en-US">
              <a:solidFill>
                <a:schemeClr val="accent1"/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B44D5C0A-15A7-A4FA-66D7-7B703A4152E5}"/>
              </a:ext>
            </a:extLst>
          </p:cNvPr>
          <p:cNvSpPr txBox="1"/>
          <p:nvPr/>
        </p:nvSpPr>
        <p:spPr>
          <a:xfrm>
            <a:off x="8511804" y="5425819"/>
            <a:ext cx="1294175" cy="772694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fontAlgn="base">
              <a:spcAft>
                <a:spcPts val="600"/>
              </a:spcAft>
              <a:defRPr/>
            </a:pPr>
            <a:r>
              <a:rPr lang="en-US" sz="1200" b="1">
                <a:solidFill>
                  <a:srgbClr val="5A5B5B"/>
                </a:solidFill>
                <a:latin typeface="Arial"/>
                <a:cs typeface="Arial"/>
              </a:rPr>
              <a:t>Backend organization</a:t>
            </a:r>
          </a:p>
          <a:p>
            <a:pPr marL="171450" lvl="0" indent="-171450" fontAlgn="base"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endParaRPr lang="en-US" sz="1100">
              <a:solidFill>
                <a:srgbClr val="5A5B5B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Rectangle: Rounded Corners 1">
            <a:extLst>
              <a:ext uri="{FF2B5EF4-FFF2-40B4-BE49-F238E27FC236}">
                <a16:creationId xmlns:a16="http://schemas.microsoft.com/office/drawing/2014/main" id="{8E1855AA-652C-4E11-0515-9C8D69750207}"/>
              </a:ext>
            </a:extLst>
          </p:cNvPr>
          <p:cNvSpPr/>
          <p:nvPr/>
        </p:nvSpPr>
        <p:spPr>
          <a:xfrm>
            <a:off x="9754525" y="3966232"/>
            <a:ext cx="2325668" cy="1109483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>
                <a:cs typeface="Arial"/>
              </a:rPr>
              <a:t>June 9 – June 20th BLACKOUT</a:t>
            </a:r>
          </a:p>
          <a:p>
            <a:pPr algn="ctr"/>
            <a:r>
              <a:rPr lang="en-US" sz="1000">
                <a:cs typeface="Arial"/>
              </a:rPr>
              <a:t>(no solution page updates)</a:t>
            </a:r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73DAAB9F-6BB3-9021-86F2-E81BC728C2F5}"/>
              </a:ext>
            </a:extLst>
          </p:cNvPr>
          <p:cNvSpPr/>
          <p:nvPr/>
        </p:nvSpPr>
        <p:spPr>
          <a:xfrm>
            <a:off x="9763471" y="5159802"/>
            <a:ext cx="2325668" cy="1109483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>
                <a:cs typeface="Arial"/>
              </a:rPr>
              <a:t>JUNE 30, 2025 </a:t>
            </a:r>
          </a:p>
          <a:p>
            <a:pPr algn="ctr"/>
            <a:r>
              <a:rPr lang="en-US" sz="1600">
                <a:cs typeface="Arial"/>
              </a:rPr>
              <a:t>GO LIVE</a:t>
            </a:r>
            <a:endParaRPr lang="en-US" sz="1000"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76049875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IQVIA_V3.0.0">
  <a:themeElements>
    <a:clrScheme name="IQVIA Master Brand">
      <a:dk1>
        <a:srgbClr val="2B3A42"/>
      </a:dk1>
      <a:lt1>
        <a:srgbClr val="FFFFFF"/>
      </a:lt1>
      <a:dk2>
        <a:srgbClr val="606B71"/>
      </a:dk2>
      <a:lt2>
        <a:srgbClr val="F3F3F3"/>
      </a:lt2>
      <a:accent1>
        <a:srgbClr val="00A3E0"/>
      </a:accent1>
      <a:accent2>
        <a:srgbClr val="005587"/>
      </a:accent2>
      <a:accent3>
        <a:srgbClr val="43B02A"/>
      </a:accent3>
      <a:accent4>
        <a:srgbClr val="027123"/>
      </a:accent4>
      <a:accent5>
        <a:srgbClr val="00BFB3"/>
      </a:accent5>
      <a:accent6>
        <a:srgbClr val="F0B323"/>
      </a:accent6>
      <a:hlink>
        <a:srgbClr val="00A3E0"/>
      </a:hlink>
      <a:folHlink>
        <a:srgbClr val="005587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</a:spPr>
      <a:bodyPr rtlCol="0" anchor="t" anchorCtr="0"/>
      <a:lstStyle>
        <a:defPPr algn="l">
          <a:defRPr sz="16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6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IQVIA Corporate PowerPoint Template" id="{FBF47825-BA15-42F8-B8DD-474EE679720A}" vid="{51500039-90C3-4EE0-82E8-5B46344F180D}"/>
    </a:ext>
  </a:extLst>
</a:theme>
</file>

<file path=ppt/theme/theme2.xml><?xml version="1.0" encoding="utf-8"?>
<a:theme xmlns:a="http://schemas.openxmlformats.org/drawingml/2006/main" name="Office Theme">
  <a:themeElements>
    <a:clrScheme name="IQVIA">
      <a:dk1>
        <a:srgbClr val="2B3A42"/>
      </a:dk1>
      <a:lt1>
        <a:sysClr val="window" lastClr="FFFFFF"/>
      </a:lt1>
      <a:dk2>
        <a:srgbClr val="005587"/>
      </a:dk2>
      <a:lt2>
        <a:srgbClr val="00A3E0"/>
      </a:lt2>
      <a:accent1>
        <a:srgbClr val="FE8A12"/>
      </a:accent1>
      <a:accent2>
        <a:srgbClr val="43B02A"/>
      </a:accent2>
      <a:accent3>
        <a:srgbClr val="027223"/>
      </a:accent3>
      <a:accent4>
        <a:srgbClr val="00C7B1"/>
      </a:accent4>
      <a:accent5>
        <a:srgbClr val="FFD100"/>
      </a:accent5>
      <a:accent6>
        <a:srgbClr val="3F5765"/>
      </a:accent6>
      <a:hlink>
        <a:srgbClr val="2B3A42"/>
      </a:hlink>
      <a:folHlink>
        <a:srgbClr val="005587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IQVIA">
      <a:dk1>
        <a:srgbClr val="2B3A42"/>
      </a:dk1>
      <a:lt1>
        <a:sysClr val="window" lastClr="FFFFFF"/>
      </a:lt1>
      <a:dk2>
        <a:srgbClr val="005587"/>
      </a:dk2>
      <a:lt2>
        <a:srgbClr val="00A3E0"/>
      </a:lt2>
      <a:accent1>
        <a:srgbClr val="FE8A12"/>
      </a:accent1>
      <a:accent2>
        <a:srgbClr val="43B02A"/>
      </a:accent2>
      <a:accent3>
        <a:srgbClr val="027223"/>
      </a:accent3>
      <a:accent4>
        <a:srgbClr val="00C7B1"/>
      </a:accent4>
      <a:accent5>
        <a:srgbClr val="FFD100"/>
      </a:accent5>
      <a:accent6>
        <a:srgbClr val="3F5765"/>
      </a:accent6>
      <a:hlink>
        <a:srgbClr val="2B3A42"/>
      </a:hlink>
      <a:folHlink>
        <a:srgbClr val="005587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7741A8027A94C54E8B871968FAA6C492" ma:contentTypeVersion="20" ma:contentTypeDescription="Create a new document." ma:contentTypeScope="" ma:versionID="ad28878c911ec4aa9c8f8cac17fa5600">
  <xsd:schema xmlns:xsd="http://www.w3.org/2001/XMLSchema" xmlns:xs="http://www.w3.org/2001/XMLSchema" xmlns:p="http://schemas.microsoft.com/office/2006/metadata/properties" xmlns:ns2="a3d99252-4236-4875-9705-b79300e2d557" xmlns:ns3="1c9b69b2-596d-4757-b9cd-cd8972304baa" targetNamespace="http://schemas.microsoft.com/office/2006/metadata/properties" ma:root="true" ma:fieldsID="c8d0122162291121ea0cc7ece83b8807" ns2:_="" ns3:_="">
    <xsd:import namespace="a3d99252-4236-4875-9705-b79300e2d557"/>
    <xsd:import namespace="1c9b69b2-596d-4757-b9cd-cd8972304baa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ServiceLocation" minOccurs="0"/>
                <xsd:element ref="ns2:MediaServiceDocTags" minOccurs="0"/>
                <xsd:element ref="ns2:MediaLengthInSeconds" minOccurs="0"/>
                <xsd:element ref="ns2:MediaServiceObjectDetectorVersions" minOccurs="0"/>
                <xsd:element ref="ns2:MediaServiceSearchProperties" minOccurs="0"/>
                <xsd:element ref="ns2:About" minOccurs="0"/>
                <xsd:element ref="ns2:Owner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3d99252-4236-4875-9705-b79300e2d557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3" nillable="true" ma:taxonomy="true" ma:internalName="lcf76f155ced4ddcb4097134ff3c332f" ma:taxonomyFieldName="MediaServiceImageTags" ma:displayName="Image Tags" ma:readOnly="false" ma:fieldId="{5cf76f15-5ced-4ddc-b409-7134ff3c332f}" ma:taxonomyMulti="true" ma:sspId="b68784c8-5187-4d12-af89-ac967a811220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8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Location" ma:index="19" nillable="true" ma:displayName="Location" ma:indexed="true" ma:internalName="MediaServiceLocation" ma:readOnly="true">
      <xsd:simpleType>
        <xsd:restriction base="dms:Text"/>
      </xsd:simpleType>
    </xsd:element>
    <xsd:element name="MediaServiceDocTags" ma:index="20" nillable="true" ma:displayName="MediaServiceDocTags" ma:hidden="true" ma:internalName="MediaServiceDocTags" ma:readOnly="true">
      <xsd:simpleType>
        <xsd:restriction base="dms:Note"/>
      </xsd:simpleType>
    </xsd:element>
    <xsd:element name="MediaLengthInSeconds" ma:index="21" nillable="true" ma:displayName="MediaLengthInSeconds" ma:hidden="true" ma:internalName="MediaLengthInSeconds" ma:readOnly="true">
      <xsd:simpleType>
        <xsd:restriction base="dms:Unknown"/>
      </xsd:simpleType>
    </xsd:element>
    <xsd:element name="MediaServiceObjectDetectorVersions" ma:index="22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3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About" ma:index="24" nillable="true" ma:displayName="About" ma:format="Dropdown" ma:internalName="About">
      <xsd:simpleType>
        <xsd:restriction base="dms:Text">
          <xsd:maxLength value="255"/>
        </xsd:restriction>
      </xsd:simpleType>
    </xsd:element>
    <xsd:element name="Owner" ma:index="25" nillable="true" ma:displayName="Owner" ma:format="Dropdown" ma:internalName="Owner">
      <xsd:simpleType>
        <xsd:restriction base="dms:Text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c9b69b2-596d-4757-b9cd-cd8972304baa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4" nillable="true" ma:displayName="Taxonomy Catch All Column" ma:hidden="true" ma:list="{d67e752f-aa54-418c-a827-14a947def056}" ma:internalName="TaxCatchAll" ma:showField="CatchAllData" ma:web="1c9b69b2-596d-4757-b9cd-cd8972304baa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Owner xmlns="a3d99252-4236-4875-9705-b79300e2d557" xsi:nil="true"/>
    <About xmlns="a3d99252-4236-4875-9705-b79300e2d557" xsi:nil="true"/>
    <lcf76f155ced4ddcb4097134ff3c332f xmlns="a3d99252-4236-4875-9705-b79300e2d557">
      <Terms xmlns="http://schemas.microsoft.com/office/infopath/2007/PartnerControls"/>
    </lcf76f155ced4ddcb4097134ff3c332f>
    <TaxCatchAll xmlns="1c9b69b2-596d-4757-b9cd-cd8972304baa" xsi:nil="true"/>
  </documentManagement>
</p:properties>
</file>

<file path=customXml/itemProps1.xml><?xml version="1.0" encoding="utf-8"?>
<ds:datastoreItem xmlns:ds="http://schemas.openxmlformats.org/officeDocument/2006/customXml" ds:itemID="{49D1A754-0255-415F-9E97-0F0BE3DD987B}">
  <ds:schemaRefs>
    <ds:schemaRef ds:uri="1c9b69b2-596d-4757-b9cd-cd8972304baa"/>
    <ds:schemaRef ds:uri="a3d99252-4236-4875-9705-b79300e2d557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4423C0CA-5009-47CB-A797-72E4DEC02D6A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02B204CA-FCBB-484A-9BB6-0F3E53A854A7}">
  <ds:schemaRefs>
    <ds:schemaRef ds:uri="1c9b69b2-596d-4757-b9cd-cd8972304baa"/>
    <ds:schemaRef ds:uri="a3d99252-4236-4875-9705-b79300e2d557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docMetadata/LabelInfo.xml><?xml version="1.0" encoding="utf-8"?>
<clbl:labelList xmlns:clbl="http://schemas.microsoft.com/office/2020/mipLabelMetadata">
  <clbl:label id="{5989ece0-f90e-40bf-9c79-1a7beccdb861}" enabled="0" method="" siteId="{5989ece0-f90e-40bf-9c79-1a7beccdb861}" removed="1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Application>Microsoft Office PowerPoint</Application>
  <PresentationFormat>Widescreen</PresentationFormat>
  <Slides>21</Slides>
  <Notes>4</Notes>
  <HiddenSlides>0</HiddenSlide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21</vt:i4>
      </vt:variant>
    </vt:vector>
  </HeadingPairs>
  <TitlesOfParts>
    <vt:vector size="22" baseType="lpstr">
      <vt:lpstr>IQVIA_V3.0.0</vt:lpstr>
      <vt:lpstr>Welcome to Marketing Operations Open Office Hours – August Session</vt:lpstr>
      <vt:lpstr>Agenda</vt:lpstr>
      <vt:lpstr>Marketing Operations Open Office Hours </vt:lpstr>
      <vt:lpstr>Commercialization Web Update 1H25</vt:lpstr>
      <vt:lpstr>Agenda</vt:lpstr>
      <vt:lpstr>Commercialization web refresh</vt:lpstr>
      <vt:lpstr>Planning &amp; phased implementation </vt:lpstr>
      <vt:lpstr>Proposed site map workshopped in Octopus</vt:lpstr>
      <vt:lpstr>Web refresh timeline</vt:lpstr>
      <vt:lpstr>Transferred site map from Octopus to Excel</vt:lpstr>
      <vt:lpstr>The packet </vt:lpstr>
      <vt:lpstr>The packet: What is included </vt:lpstr>
      <vt:lpstr>Consistent jump bar heading and page structure across CS site</vt:lpstr>
      <vt:lpstr>What’s next </vt:lpstr>
      <vt:lpstr>Post-go-live next steps</vt:lpstr>
      <vt:lpstr>Questions? </vt:lpstr>
      <vt:lpstr>Website forms</vt:lpstr>
      <vt:lpstr>Website content</vt:lpstr>
      <vt:lpstr>Tips to make the process more efficient​</vt:lpstr>
      <vt:lpstr>VIA Form – how to find the content type</vt:lpstr>
      <vt:lpstr>Thank You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Benefits of LinkedIn message ads and click-to-message ads</dc:title>
  <dc:creator>Kamboj, Sandeep</dc:creator>
  <cp:revision>1</cp:revision>
  <cp:lastPrinted>2019-08-20T20:33:24Z</cp:lastPrinted>
  <dcterms:created xsi:type="dcterms:W3CDTF">2025-04-01T04:30:23Z</dcterms:created>
  <dcterms:modified xsi:type="dcterms:W3CDTF">2025-08-06T12:12:2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7741A8027A94C54E8B871968FAA6C492</vt:lpwstr>
  </property>
  <property fmtid="{D5CDD505-2E9C-101B-9397-08002B2CF9AE}" pid="3" name="MediaServiceImageTags">
    <vt:lpwstr/>
  </property>
</Properties>
</file>